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1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2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3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  <p:sldMasterId id="2147483711" r:id="rId5"/>
  </p:sldMasterIdLst>
  <p:notesMasterIdLst>
    <p:notesMasterId r:id="rId49"/>
  </p:notesMasterIdLst>
  <p:handoutMasterIdLst>
    <p:handoutMasterId r:id="rId50"/>
  </p:handoutMasterIdLst>
  <p:sldIdLst>
    <p:sldId id="391" r:id="rId6"/>
    <p:sldId id="398" r:id="rId7"/>
    <p:sldId id="285" r:id="rId8"/>
    <p:sldId id="359" r:id="rId9"/>
    <p:sldId id="397" r:id="rId10"/>
    <p:sldId id="395" r:id="rId11"/>
    <p:sldId id="404" r:id="rId12"/>
    <p:sldId id="400" r:id="rId13"/>
    <p:sldId id="405" r:id="rId14"/>
    <p:sldId id="406" r:id="rId15"/>
    <p:sldId id="407" r:id="rId16"/>
    <p:sldId id="408" r:id="rId17"/>
    <p:sldId id="434" r:id="rId18"/>
    <p:sldId id="409" r:id="rId19"/>
    <p:sldId id="410" r:id="rId20"/>
    <p:sldId id="411" r:id="rId21"/>
    <p:sldId id="399" r:id="rId22"/>
    <p:sldId id="412" r:id="rId23"/>
    <p:sldId id="401" r:id="rId24"/>
    <p:sldId id="413" r:id="rId25"/>
    <p:sldId id="414" r:id="rId26"/>
    <p:sldId id="415" r:id="rId27"/>
    <p:sldId id="416" r:id="rId28"/>
    <p:sldId id="417" r:id="rId29"/>
    <p:sldId id="418" r:id="rId30"/>
    <p:sldId id="419" r:id="rId31"/>
    <p:sldId id="420" r:id="rId32"/>
    <p:sldId id="421" r:id="rId33"/>
    <p:sldId id="422" r:id="rId34"/>
    <p:sldId id="423" r:id="rId35"/>
    <p:sldId id="424" r:id="rId36"/>
    <p:sldId id="425" r:id="rId37"/>
    <p:sldId id="426" r:id="rId38"/>
    <p:sldId id="427" r:id="rId39"/>
    <p:sldId id="393" r:id="rId40"/>
    <p:sldId id="394" r:id="rId41"/>
    <p:sldId id="428" r:id="rId42"/>
    <p:sldId id="396" r:id="rId43"/>
    <p:sldId id="429" r:id="rId44"/>
    <p:sldId id="430" r:id="rId45"/>
    <p:sldId id="431" r:id="rId46"/>
    <p:sldId id="432" r:id="rId47"/>
    <p:sldId id="433" r:id="rId48"/>
  </p:sldIdLst>
  <p:sldSz cx="12192000" cy="6858000"/>
  <p:notesSz cx="6858000" cy="9144000"/>
  <p:custDataLst>
    <p:tags r:id="rId5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B30D3474-C210-41FA-B7EB-24E84A71F7A3}">
          <p14:sldIdLst>
            <p14:sldId id="391"/>
            <p14:sldId id="398"/>
          </p14:sldIdLst>
        </p14:section>
        <p14:section name="Sheetal" id="{A57EA6D5-5F4D-48D0-A197-43C719E4C4BA}">
          <p14:sldIdLst>
            <p14:sldId id="285"/>
            <p14:sldId id="359"/>
            <p14:sldId id="397"/>
            <p14:sldId id="395"/>
          </p14:sldIdLst>
        </p14:section>
        <p14:section name="Ritvik" id="{20AB0661-8DFB-4F89-AF7A-2E57477A17C7}">
          <p14:sldIdLst>
            <p14:sldId id="404"/>
            <p14:sldId id="400"/>
            <p14:sldId id="405"/>
            <p14:sldId id="406"/>
            <p14:sldId id="407"/>
            <p14:sldId id="408"/>
            <p14:sldId id="434"/>
            <p14:sldId id="409"/>
          </p14:sldIdLst>
        </p14:section>
        <p14:section name="Backup Slides" id="{4FC8BA70-84CA-47D2-B6AE-09F9EAE3BCBA}">
          <p14:sldIdLst>
            <p14:sldId id="410"/>
            <p14:sldId id="411"/>
            <p14:sldId id="399"/>
            <p14:sldId id="412"/>
            <p14:sldId id="401"/>
            <p14:sldId id="413"/>
            <p14:sldId id="414"/>
            <p14:sldId id="415"/>
            <p14:sldId id="416"/>
            <p14:sldId id="417"/>
            <p14:sldId id="418"/>
            <p14:sldId id="419"/>
            <p14:sldId id="420"/>
            <p14:sldId id="421"/>
            <p14:sldId id="422"/>
            <p14:sldId id="423"/>
            <p14:sldId id="424"/>
            <p14:sldId id="425"/>
            <p14:sldId id="426"/>
            <p14:sldId id="427"/>
            <p14:sldId id="393"/>
            <p14:sldId id="394"/>
            <p14:sldId id="428"/>
            <p14:sldId id="396"/>
            <p14:sldId id="429"/>
            <p14:sldId id="430"/>
            <p14:sldId id="431"/>
            <p14:sldId id="432"/>
            <p14:sldId id="43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8892"/>
    <a:srgbClr val="008A3E"/>
    <a:srgbClr val="EBBF43"/>
    <a:srgbClr val="F2F2F2"/>
    <a:srgbClr val="E0E0E0"/>
    <a:srgbClr val="DC202E"/>
    <a:srgbClr val="FFFFFF"/>
    <a:srgbClr val="C0C0C0"/>
    <a:srgbClr val="A0A0A0"/>
    <a:srgbClr val="70707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" v="288" dt="2020-07-30T05:15:21.579"/>
    <p1510:client id="{081054EE-8741-4111-BEAB-BFC9C44C741F}" v="1" dt="2020-07-29T16:45:05.069"/>
    <p1510:client id="{124F64FB-20B4-4557-867D-41849EBF929A}" v="1697" dt="2020-07-30T04:18:35.003"/>
    <p1510:client id="{1318C916-1266-4351-8F88-806F2E330032}" v="94" dt="2020-07-29T07:05:42.852"/>
    <p1510:client id="{29E9A071-CECB-4482-8070-45500A965BE5}" v="38" dt="2020-07-29T06:35:53.951"/>
    <p1510:client id="{32DF325B-0C11-4E23-9C4E-9F406DAA5BE2}" v="1" dt="2020-07-29T10:59:28.309"/>
    <p1510:client id="{346ADF6B-0419-48E5-B350-80C143FA0055}" v="1" dt="2020-07-29T10:58:09.970"/>
    <p1510:client id="{45978F37-5C76-463B-B7C4-A690827052CA}" v="5" dt="2020-07-30T04:33:47.218"/>
    <p1510:client id="{4A7FC659-BFBC-4E77-A23C-F5A830781D14}" v="1" dt="2020-07-29T06:30:38.613"/>
    <p1510:client id="{897847DA-9BE8-4C9A-A574-52180C0C60C8}" v="10" dt="2020-07-30T04:17:17.523"/>
    <p1510:client id="{9042CCB0-4486-4C07-AE02-60EA4C72FE3B}" v="360" dt="2020-07-29T10:33:35.961"/>
    <p1510:client id="{9DB79544-3D46-4C6E-8279-E3D64CACAFE0}" v="494" dt="2020-07-29T09:42:38.601"/>
    <p1510:client id="{A7863BD4-96DF-4642-A2D9-18221A6D0D05}" v="72" dt="2020-07-29T09:13:08.409"/>
    <p1510:client id="{CAA5B5D7-198C-4BAE-A933-C5A85BFED518}" v="38" dt="2020-07-29T06:06:20.498"/>
    <p1510:client id="{EB5E175C-F281-48C4-BAE0-CF665C774791}" v="419" dt="2020-07-29T05:55:44.149"/>
    <p1510:client id="{EEBC4CEC-8B71-4F5B-8ED0-73D34C496B19}" v="565" dt="2020-07-29T08:14:24.8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microsoft.com/office/2016/11/relationships/changesInfo" Target="changesInfos/changesInfo1.xml"/><Relationship Id="rId8" Type="http://schemas.openxmlformats.org/officeDocument/2006/relationships/slide" Target="slides/slide3.xml"/><Relationship Id="rId51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notesMaster" Target="notesMasters/notesMaster1.xml"/><Relationship Id="rId57" Type="http://schemas.microsoft.com/office/2015/10/relationships/revisionInfo" Target="revisionInfo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ndey, Ritvik" userId="S::ritvik.pandey@honeywell.com::aa3a3568-d05e-4c17-8352-5616d00f28b0" providerId="AD" clId="Web-{45978F37-5C76-463B-B7C4-A690827052CA}"/>
    <pc:docChg chg="modSld">
      <pc:chgData name="Pandey, Ritvik" userId="S::ritvik.pandey@honeywell.com::aa3a3568-d05e-4c17-8352-5616d00f28b0" providerId="AD" clId="Web-{45978F37-5C76-463B-B7C4-A690827052CA}" dt="2020-07-30T04:33:47.218" v="4" actId="20577"/>
      <pc:docMkLst>
        <pc:docMk/>
      </pc:docMkLst>
      <pc:sldChg chg="modSp">
        <pc:chgData name="Pandey, Ritvik" userId="S::ritvik.pandey@honeywell.com::aa3a3568-d05e-4c17-8352-5616d00f28b0" providerId="AD" clId="Web-{45978F37-5C76-463B-B7C4-A690827052CA}" dt="2020-07-30T04:33:47.218" v="4" actId="20577"/>
        <pc:sldMkLst>
          <pc:docMk/>
          <pc:sldMk cId="4251529238" sldId="391"/>
        </pc:sldMkLst>
        <pc:spChg chg="mod">
          <ac:chgData name="Pandey, Ritvik" userId="S::ritvik.pandey@honeywell.com::aa3a3568-d05e-4c17-8352-5616d00f28b0" providerId="AD" clId="Web-{45978F37-5C76-463B-B7C4-A690827052CA}" dt="2020-07-30T04:33:47.218" v="4" actId="20577"/>
          <ac:spMkLst>
            <pc:docMk/>
            <pc:sldMk cId="4251529238" sldId="391"/>
            <ac:spMk id="6" creationId="{767286C6-EE84-49FB-80ED-89E9CA40BB62}"/>
          </ac:spMkLst>
        </pc:spChg>
      </pc:sldChg>
    </pc:docChg>
  </pc:docChgLst>
  <pc:docChgLst>
    <pc:chgData name="Pandey, Ritvik" userId="S::ritvik.pandey@honeywell.com::aa3a3568-d05e-4c17-8352-5616d00f28b0" providerId="AD" clId="Web-{69B5063C-EFEF-4A32-A623-E00C88FD96F5}"/>
    <pc:docChg chg="addSld delSld addMainMaster modSection">
      <pc:chgData name="Pandey, Ritvik" userId="S::ritvik.pandey@honeywell.com::aa3a3568-d05e-4c17-8352-5616d00f28b0" providerId="AD" clId="Web-{69B5063C-EFEF-4A32-A623-E00C88FD96F5}" dt="2020-07-28T19:27:25.343" v="7"/>
      <pc:docMkLst>
        <pc:docMk/>
      </pc:docMkLst>
      <pc:sldChg chg="add">
        <pc:chgData name="Pandey, Ritvik" userId="S::ritvik.pandey@honeywell.com::aa3a3568-d05e-4c17-8352-5616d00f28b0" providerId="AD" clId="Web-{69B5063C-EFEF-4A32-A623-E00C88FD96F5}" dt="2020-07-28T19:26:53.546" v="0"/>
        <pc:sldMkLst>
          <pc:docMk/>
          <pc:sldMk cId="2529899981" sldId="395"/>
        </pc:sldMkLst>
      </pc:sldChg>
      <pc:sldChg chg="add">
        <pc:chgData name="Pandey, Ritvik" userId="S::ritvik.pandey@honeywell.com::aa3a3568-d05e-4c17-8352-5616d00f28b0" providerId="AD" clId="Web-{69B5063C-EFEF-4A32-A623-E00C88FD96F5}" dt="2020-07-28T19:26:53.639" v="1"/>
        <pc:sldMkLst>
          <pc:docMk/>
          <pc:sldMk cId="1520370115" sldId="396"/>
        </pc:sldMkLst>
      </pc:sldChg>
      <pc:sldChg chg="add">
        <pc:chgData name="Pandey, Ritvik" userId="S::ritvik.pandey@honeywell.com::aa3a3568-d05e-4c17-8352-5616d00f28b0" providerId="AD" clId="Web-{69B5063C-EFEF-4A32-A623-E00C88FD96F5}" dt="2020-07-28T19:26:53.811" v="2"/>
        <pc:sldMkLst>
          <pc:docMk/>
          <pc:sldMk cId="2389762692" sldId="397"/>
        </pc:sldMkLst>
      </pc:sldChg>
      <pc:sldChg chg="add">
        <pc:chgData name="Pandey, Ritvik" userId="S::ritvik.pandey@honeywell.com::aa3a3568-d05e-4c17-8352-5616d00f28b0" providerId="AD" clId="Web-{69B5063C-EFEF-4A32-A623-E00C88FD96F5}" dt="2020-07-28T19:26:53.983" v="3"/>
        <pc:sldMkLst>
          <pc:docMk/>
          <pc:sldMk cId="3709335413" sldId="398"/>
        </pc:sldMkLst>
      </pc:sldChg>
      <pc:sldChg chg="del">
        <pc:chgData name="Pandey, Ritvik" userId="S::ritvik.pandey@honeywell.com::aa3a3568-d05e-4c17-8352-5616d00f28b0" providerId="AD" clId="Web-{69B5063C-EFEF-4A32-A623-E00C88FD96F5}" dt="2020-07-28T19:27:25.343" v="7"/>
        <pc:sldMkLst>
          <pc:docMk/>
          <pc:sldMk cId="3709335413" sldId="399"/>
        </pc:sldMkLst>
      </pc:sldChg>
      <pc:sldChg chg="del">
        <pc:chgData name="Pandey, Ritvik" userId="S::ritvik.pandey@honeywell.com::aa3a3568-d05e-4c17-8352-5616d00f28b0" providerId="AD" clId="Web-{69B5063C-EFEF-4A32-A623-E00C88FD96F5}" dt="2020-07-28T19:27:25.327" v="6"/>
        <pc:sldMkLst>
          <pc:docMk/>
          <pc:sldMk cId="2389762692" sldId="400"/>
        </pc:sldMkLst>
      </pc:sldChg>
      <pc:sldChg chg="del">
        <pc:chgData name="Pandey, Ritvik" userId="S::ritvik.pandey@honeywell.com::aa3a3568-d05e-4c17-8352-5616d00f28b0" providerId="AD" clId="Web-{69B5063C-EFEF-4A32-A623-E00C88FD96F5}" dt="2020-07-28T19:27:25.312" v="5"/>
        <pc:sldMkLst>
          <pc:docMk/>
          <pc:sldMk cId="1520370115" sldId="401"/>
        </pc:sldMkLst>
      </pc:sldChg>
      <pc:sldChg chg="del">
        <pc:chgData name="Pandey, Ritvik" userId="S::ritvik.pandey@honeywell.com::aa3a3568-d05e-4c17-8352-5616d00f28b0" providerId="AD" clId="Web-{69B5063C-EFEF-4A32-A623-E00C88FD96F5}" dt="2020-07-28T19:27:25.296" v="4"/>
        <pc:sldMkLst>
          <pc:docMk/>
          <pc:sldMk cId="2529899981" sldId="402"/>
        </pc:sldMkLst>
      </pc:sldChg>
      <pc:sldMasterChg chg="add addSldLayout">
        <pc:chgData name="Pandey, Ritvik" userId="S::ritvik.pandey@honeywell.com::aa3a3568-d05e-4c17-8352-5616d00f28b0" providerId="AD" clId="Web-{69B5063C-EFEF-4A32-A623-E00C88FD96F5}" dt="2020-07-28T19:26:53.546" v="0"/>
        <pc:sldMasterMkLst>
          <pc:docMk/>
          <pc:sldMasterMk cId="1961464670" sldId="2147483711"/>
        </pc:sldMasterMkLst>
        <pc:sldLayoutChg chg="add">
          <pc:chgData name="Pandey, Ritvik" userId="S::ritvik.pandey@honeywell.com::aa3a3568-d05e-4c17-8352-5616d00f28b0" providerId="AD" clId="Web-{69B5063C-EFEF-4A32-A623-E00C88FD96F5}" dt="2020-07-28T19:26:53.546" v="0"/>
          <pc:sldLayoutMkLst>
            <pc:docMk/>
            <pc:sldMasterMk cId="1961464670" sldId="2147483711"/>
            <pc:sldLayoutMk cId="12219993" sldId="2147483712"/>
          </pc:sldLayoutMkLst>
        </pc:sldLayoutChg>
        <pc:sldLayoutChg chg="add">
          <pc:chgData name="Pandey, Ritvik" userId="S::ritvik.pandey@honeywell.com::aa3a3568-d05e-4c17-8352-5616d00f28b0" providerId="AD" clId="Web-{69B5063C-EFEF-4A32-A623-E00C88FD96F5}" dt="2020-07-28T19:26:53.546" v="0"/>
          <pc:sldLayoutMkLst>
            <pc:docMk/>
            <pc:sldMasterMk cId="1961464670" sldId="2147483711"/>
            <pc:sldLayoutMk cId="97142302" sldId="2147483713"/>
          </pc:sldLayoutMkLst>
        </pc:sldLayoutChg>
        <pc:sldLayoutChg chg="add">
          <pc:chgData name="Pandey, Ritvik" userId="S::ritvik.pandey@honeywell.com::aa3a3568-d05e-4c17-8352-5616d00f28b0" providerId="AD" clId="Web-{69B5063C-EFEF-4A32-A623-E00C88FD96F5}" dt="2020-07-28T19:26:53.546" v="0"/>
          <pc:sldLayoutMkLst>
            <pc:docMk/>
            <pc:sldMasterMk cId="1961464670" sldId="2147483711"/>
            <pc:sldLayoutMk cId="2891771046" sldId="2147483714"/>
          </pc:sldLayoutMkLst>
        </pc:sldLayoutChg>
        <pc:sldLayoutChg chg="add">
          <pc:chgData name="Pandey, Ritvik" userId="S::ritvik.pandey@honeywell.com::aa3a3568-d05e-4c17-8352-5616d00f28b0" providerId="AD" clId="Web-{69B5063C-EFEF-4A32-A623-E00C88FD96F5}" dt="2020-07-28T19:26:53.546" v="0"/>
          <pc:sldLayoutMkLst>
            <pc:docMk/>
            <pc:sldMasterMk cId="1961464670" sldId="2147483711"/>
            <pc:sldLayoutMk cId="2484029443" sldId="2147483715"/>
          </pc:sldLayoutMkLst>
        </pc:sldLayoutChg>
        <pc:sldLayoutChg chg="add">
          <pc:chgData name="Pandey, Ritvik" userId="S::ritvik.pandey@honeywell.com::aa3a3568-d05e-4c17-8352-5616d00f28b0" providerId="AD" clId="Web-{69B5063C-EFEF-4A32-A623-E00C88FD96F5}" dt="2020-07-28T19:26:53.546" v="0"/>
          <pc:sldLayoutMkLst>
            <pc:docMk/>
            <pc:sldMasterMk cId="1961464670" sldId="2147483711"/>
            <pc:sldLayoutMk cId="244629717" sldId="2147483716"/>
          </pc:sldLayoutMkLst>
        </pc:sldLayoutChg>
        <pc:sldLayoutChg chg="add">
          <pc:chgData name="Pandey, Ritvik" userId="S::ritvik.pandey@honeywell.com::aa3a3568-d05e-4c17-8352-5616d00f28b0" providerId="AD" clId="Web-{69B5063C-EFEF-4A32-A623-E00C88FD96F5}" dt="2020-07-28T19:26:53.546" v="0"/>
          <pc:sldLayoutMkLst>
            <pc:docMk/>
            <pc:sldMasterMk cId="1961464670" sldId="2147483711"/>
            <pc:sldLayoutMk cId="3340088116" sldId="2147483717"/>
          </pc:sldLayoutMkLst>
        </pc:sldLayoutChg>
      </pc:sldMasterChg>
    </pc:docChg>
  </pc:docChgLst>
  <pc:docChgLst>
    <pc:chgData name="Vernekar, SHEETAL" userId="S::sheetal.vernekar@honeywell.com::882e04e4-92eb-446d-813b-c1c53e02a47b" providerId="AD" clId="Web-{32DF325B-0C11-4E23-9C4E-9F406DAA5BE2}"/>
    <pc:docChg chg="delSld modSection">
      <pc:chgData name="Vernekar, SHEETAL" userId="S::sheetal.vernekar@honeywell.com::882e04e4-92eb-446d-813b-c1c53e02a47b" providerId="AD" clId="Web-{32DF325B-0C11-4E23-9C4E-9F406DAA5BE2}" dt="2020-07-29T10:59:28.309" v="0"/>
      <pc:docMkLst>
        <pc:docMk/>
      </pc:docMkLst>
      <pc:sldChg chg="del">
        <pc:chgData name="Vernekar, SHEETAL" userId="S::sheetal.vernekar@honeywell.com::882e04e4-92eb-446d-813b-c1c53e02a47b" providerId="AD" clId="Web-{32DF325B-0C11-4E23-9C4E-9F406DAA5BE2}" dt="2020-07-29T10:59:28.309" v="0"/>
        <pc:sldMkLst>
          <pc:docMk/>
          <pc:sldMk cId="1754357383" sldId="393"/>
        </pc:sldMkLst>
      </pc:sldChg>
    </pc:docChg>
  </pc:docChgLst>
  <pc:docChgLst>
    <pc:chgData name="Pandey, Ritvik" userId="aa3a3568-d05e-4c17-8352-5616d00f28b0" providerId="ADAL" clId="{124F64FB-20B4-4557-867D-41849EBF929A}"/>
    <pc:docChg chg="undo custSel addSld delSld modSld sldOrd delSection modSection">
      <pc:chgData name="Pandey, Ritvik" userId="aa3a3568-d05e-4c17-8352-5616d00f28b0" providerId="ADAL" clId="{124F64FB-20B4-4557-867D-41849EBF929A}" dt="2020-07-30T04:18:35.003" v="2182" actId="1076"/>
      <pc:docMkLst>
        <pc:docMk/>
      </pc:docMkLst>
      <pc:sldChg chg="del">
        <pc:chgData name="Pandey, Ritvik" userId="aa3a3568-d05e-4c17-8352-5616d00f28b0" providerId="ADAL" clId="{124F64FB-20B4-4557-867D-41849EBF929A}" dt="2020-07-29T10:58:07.227" v="2080" actId="2696"/>
        <pc:sldMkLst>
          <pc:docMk/>
          <pc:sldMk cId="277276024" sldId="260"/>
        </pc:sldMkLst>
      </pc:sldChg>
      <pc:sldChg chg="del">
        <pc:chgData name="Pandey, Ritvik" userId="aa3a3568-d05e-4c17-8352-5616d00f28b0" providerId="ADAL" clId="{124F64FB-20B4-4557-867D-41849EBF929A}" dt="2020-07-29T10:57:22.887" v="2028" actId="2696"/>
        <pc:sldMkLst>
          <pc:docMk/>
          <pc:sldMk cId="2320771040" sldId="261"/>
        </pc:sldMkLst>
      </pc:sldChg>
      <pc:sldChg chg="del">
        <pc:chgData name="Pandey, Ritvik" userId="aa3a3568-d05e-4c17-8352-5616d00f28b0" providerId="ADAL" clId="{124F64FB-20B4-4557-867D-41849EBF929A}" dt="2020-07-29T10:57:22.863" v="2027" actId="2696"/>
        <pc:sldMkLst>
          <pc:docMk/>
          <pc:sldMk cId="2334846650" sldId="262"/>
        </pc:sldMkLst>
      </pc:sldChg>
      <pc:sldChg chg="del">
        <pc:chgData name="Pandey, Ritvik" userId="aa3a3568-d05e-4c17-8352-5616d00f28b0" providerId="ADAL" clId="{124F64FB-20B4-4557-867D-41849EBF929A}" dt="2020-07-29T10:57:22.909" v="2029" actId="2696"/>
        <pc:sldMkLst>
          <pc:docMk/>
          <pc:sldMk cId="2236302928" sldId="268"/>
        </pc:sldMkLst>
      </pc:sldChg>
      <pc:sldChg chg="del">
        <pc:chgData name="Pandey, Ritvik" userId="aa3a3568-d05e-4c17-8352-5616d00f28b0" providerId="ADAL" clId="{124F64FB-20B4-4557-867D-41849EBF929A}" dt="2020-07-29T10:58:07.250" v="2081" actId="2696"/>
        <pc:sldMkLst>
          <pc:docMk/>
          <pc:sldMk cId="1070162470" sldId="270"/>
        </pc:sldMkLst>
      </pc:sldChg>
      <pc:sldChg chg="add">
        <pc:chgData name="Pandey, Ritvik" userId="aa3a3568-d05e-4c17-8352-5616d00f28b0" providerId="ADAL" clId="{124F64FB-20B4-4557-867D-41849EBF929A}" dt="2020-07-29T10:58:03.986" v="2079"/>
        <pc:sldMkLst>
          <pc:docMk/>
          <pc:sldMk cId="246100870" sldId="271"/>
        </pc:sldMkLst>
      </pc:sldChg>
      <pc:sldChg chg="modSp del">
        <pc:chgData name="Pandey, Ritvik" userId="aa3a3568-d05e-4c17-8352-5616d00f28b0" providerId="ADAL" clId="{124F64FB-20B4-4557-867D-41849EBF929A}" dt="2020-07-29T10:58:01.981" v="2078" actId="2696"/>
        <pc:sldMkLst>
          <pc:docMk/>
          <pc:sldMk cId="2887709158" sldId="271"/>
        </pc:sldMkLst>
        <pc:spChg chg="mod">
          <ac:chgData name="Pandey, Ritvik" userId="aa3a3568-d05e-4c17-8352-5616d00f28b0" providerId="ADAL" clId="{124F64FB-20B4-4557-867D-41849EBF929A}" dt="2020-07-29T10:57:59.868" v="2077" actId="1076"/>
          <ac:spMkLst>
            <pc:docMk/>
            <pc:sldMk cId="2887709158" sldId="271"/>
            <ac:spMk id="2" creationId="{593E87C2-48E3-4EF5-B7EF-0B14F111BADF}"/>
          </ac:spMkLst>
        </pc:spChg>
      </pc:sldChg>
      <pc:sldChg chg="del">
        <pc:chgData name="Pandey, Ritvik" userId="aa3a3568-d05e-4c17-8352-5616d00f28b0" providerId="ADAL" clId="{124F64FB-20B4-4557-867D-41849EBF929A}" dt="2020-07-29T10:57:17.014" v="2021" actId="2696"/>
        <pc:sldMkLst>
          <pc:docMk/>
          <pc:sldMk cId="1695418637" sldId="272"/>
        </pc:sldMkLst>
      </pc:sldChg>
      <pc:sldChg chg="del">
        <pc:chgData name="Pandey, Ritvik" userId="aa3a3568-d05e-4c17-8352-5616d00f28b0" providerId="ADAL" clId="{124F64FB-20B4-4557-867D-41849EBF929A}" dt="2020-07-29T10:57:22.939" v="2030" actId="2696"/>
        <pc:sldMkLst>
          <pc:docMk/>
          <pc:sldMk cId="3084126323" sldId="275"/>
        </pc:sldMkLst>
      </pc:sldChg>
      <pc:sldChg chg="del">
        <pc:chgData name="Pandey, Ritvik" userId="aa3a3568-d05e-4c17-8352-5616d00f28b0" providerId="ADAL" clId="{124F64FB-20B4-4557-867D-41849EBF929A}" dt="2020-07-29T10:57:25.015" v="2038" actId="2696"/>
        <pc:sldMkLst>
          <pc:docMk/>
          <pc:sldMk cId="762682343" sldId="280"/>
        </pc:sldMkLst>
      </pc:sldChg>
      <pc:sldChg chg="del">
        <pc:chgData name="Pandey, Ritvik" userId="aa3a3568-d05e-4c17-8352-5616d00f28b0" providerId="ADAL" clId="{124F64FB-20B4-4557-867D-41849EBF929A}" dt="2020-07-29T10:57:25.047" v="2039" actId="2696"/>
        <pc:sldMkLst>
          <pc:docMk/>
          <pc:sldMk cId="170441281" sldId="281"/>
        </pc:sldMkLst>
      </pc:sldChg>
      <pc:sldChg chg="del">
        <pc:chgData name="Pandey, Ritvik" userId="aa3a3568-d05e-4c17-8352-5616d00f28b0" providerId="ADAL" clId="{124F64FB-20B4-4557-867D-41849EBF929A}" dt="2020-07-29T10:57:25.084" v="2040" actId="2696"/>
        <pc:sldMkLst>
          <pc:docMk/>
          <pc:sldMk cId="2328305897" sldId="282"/>
        </pc:sldMkLst>
      </pc:sldChg>
      <pc:sldChg chg="del">
        <pc:chgData name="Pandey, Ritvik" userId="aa3a3568-d05e-4c17-8352-5616d00f28b0" providerId="ADAL" clId="{124F64FB-20B4-4557-867D-41849EBF929A}" dt="2020-07-29T10:57:24.867" v="2034" actId="2696"/>
        <pc:sldMkLst>
          <pc:docMk/>
          <pc:sldMk cId="2571172284" sldId="286"/>
        </pc:sldMkLst>
      </pc:sldChg>
      <pc:sldChg chg="del">
        <pc:chgData name="Pandey, Ritvik" userId="aa3a3568-d05e-4c17-8352-5616d00f28b0" providerId="ADAL" clId="{124F64FB-20B4-4557-867D-41849EBF929A}" dt="2020-07-29T10:57:24.830" v="2033" actId="2696"/>
        <pc:sldMkLst>
          <pc:docMk/>
          <pc:sldMk cId="2507197102" sldId="341"/>
        </pc:sldMkLst>
      </pc:sldChg>
      <pc:sldChg chg="del">
        <pc:chgData name="Pandey, Ritvik" userId="aa3a3568-d05e-4c17-8352-5616d00f28b0" providerId="ADAL" clId="{124F64FB-20B4-4557-867D-41849EBF929A}" dt="2020-07-29T10:57:23.008" v="2031" actId="2696"/>
        <pc:sldMkLst>
          <pc:docMk/>
          <pc:sldMk cId="1291234161" sldId="354"/>
        </pc:sldMkLst>
      </pc:sldChg>
      <pc:sldChg chg="del">
        <pc:chgData name="Pandey, Ritvik" userId="aa3a3568-d05e-4c17-8352-5616d00f28b0" providerId="ADAL" clId="{124F64FB-20B4-4557-867D-41849EBF929A}" dt="2020-07-29T10:57:24.938" v="2036" actId="2696"/>
        <pc:sldMkLst>
          <pc:docMk/>
          <pc:sldMk cId="1100359789" sldId="355"/>
        </pc:sldMkLst>
      </pc:sldChg>
      <pc:sldChg chg="del">
        <pc:chgData name="Pandey, Ritvik" userId="aa3a3568-d05e-4c17-8352-5616d00f28b0" providerId="ADAL" clId="{124F64FB-20B4-4557-867D-41849EBF929A}" dt="2020-07-29T10:57:24.899" v="2035" actId="2696"/>
        <pc:sldMkLst>
          <pc:docMk/>
          <pc:sldMk cId="3042100507" sldId="356"/>
        </pc:sldMkLst>
      </pc:sldChg>
      <pc:sldChg chg="del">
        <pc:chgData name="Pandey, Ritvik" userId="aa3a3568-d05e-4c17-8352-5616d00f28b0" providerId="ADAL" clId="{124F64FB-20B4-4557-867D-41849EBF929A}" dt="2020-07-29T10:57:24.975" v="2037" actId="2696"/>
        <pc:sldMkLst>
          <pc:docMk/>
          <pc:sldMk cId="4118449962" sldId="357"/>
        </pc:sldMkLst>
      </pc:sldChg>
      <pc:sldChg chg="del">
        <pc:chgData name="Pandey, Ritvik" userId="aa3a3568-d05e-4c17-8352-5616d00f28b0" providerId="ADAL" clId="{124F64FB-20B4-4557-867D-41849EBF929A}" dt="2020-07-29T10:58:07.270" v="2082" actId="2696"/>
        <pc:sldMkLst>
          <pc:docMk/>
          <pc:sldMk cId="4008335776" sldId="358"/>
        </pc:sldMkLst>
      </pc:sldChg>
      <pc:sldChg chg="del">
        <pc:chgData name="Pandey, Ritvik" userId="aa3a3568-d05e-4c17-8352-5616d00f28b0" providerId="ADAL" clId="{124F64FB-20B4-4557-867D-41849EBF929A}" dt="2020-07-29T10:57:25.200" v="2043" actId="2696"/>
        <pc:sldMkLst>
          <pc:docMk/>
          <pc:sldMk cId="1770865990" sldId="360"/>
        </pc:sldMkLst>
      </pc:sldChg>
      <pc:sldChg chg="del">
        <pc:chgData name="Pandey, Ritvik" userId="aa3a3568-d05e-4c17-8352-5616d00f28b0" providerId="ADAL" clId="{124F64FB-20B4-4557-867D-41849EBF929A}" dt="2020-07-29T10:57:25.120" v="2041" actId="2696"/>
        <pc:sldMkLst>
          <pc:docMk/>
          <pc:sldMk cId="2811826166" sldId="361"/>
        </pc:sldMkLst>
      </pc:sldChg>
      <pc:sldChg chg="del">
        <pc:chgData name="Pandey, Ritvik" userId="aa3a3568-d05e-4c17-8352-5616d00f28b0" providerId="ADAL" clId="{124F64FB-20B4-4557-867D-41849EBF929A}" dt="2020-07-29T10:57:25.160" v="2042" actId="2696"/>
        <pc:sldMkLst>
          <pc:docMk/>
          <pc:sldMk cId="2431601213" sldId="362"/>
        </pc:sldMkLst>
      </pc:sldChg>
      <pc:sldChg chg="del">
        <pc:chgData name="Pandey, Ritvik" userId="aa3a3568-d05e-4c17-8352-5616d00f28b0" providerId="ADAL" clId="{124F64FB-20B4-4557-867D-41849EBF929A}" dt="2020-07-29T10:57:25.284" v="2046" actId="2696"/>
        <pc:sldMkLst>
          <pc:docMk/>
          <pc:sldMk cId="1744579070" sldId="363"/>
        </pc:sldMkLst>
      </pc:sldChg>
      <pc:sldChg chg="del">
        <pc:chgData name="Pandey, Ritvik" userId="aa3a3568-d05e-4c17-8352-5616d00f28b0" providerId="ADAL" clId="{124F64FB-20B4-4557-867D-41849EBF929A}" dt="2020-07-29T10:57:25.253" v="2045" actId="2696"/>
        <pc:sldMkLst>
          <pc:docMk/>
          <pc:sldMk cId="2659457332" sldId="364"/>
        </pc:sldMkLst>
      </pc:sldChg>
      <pc:sldChg chg="del">
        <pc:chgData name="Pandey, Ritvik" userId="aa3a3568-d05e-4c17-8352-5616d00f28b0" providerId="ADAL" clId="{124F64FB-20B4-4557-867D-41849EBF929A}" dt="2020-07-29T10:57:25.224" v="2044" actId="2696"/>
        <pc:sldMkLst>
          <pc:docMk/>
          <pc:sldMk cId="1713164177" sldId="369"/>
        </pc:sldMkLst>
      </pc:sldChg>
      <pc:sldChg chg="del">
        <pc:chgData name="Pandey, Ritvik" userId="aa3a3568-d05e-4c17-8352-5616d00f28b0" providerId="ADAL" clId="{124F64FB-20B4-4557-867D-41849EBF929A}" dt="2020-07-29T10:57:19.556" v="2023" actId="2696"/>
        <pc:sldMkLst>
          <pc:docMk/>
          <pc:sldMk cId="1973725218" sldId="374"/>
        </pc:sldMkLst>
      </pc:sldChg>
      <pc:sldChg chg="del">
        <pc:chgData name="Pandey, Ritvik" userId="aa3a3568-d05e-4c17-8352-5616d00f28b0" providerId="ADAL" clId="{124F64FB-20B4-4557-867D-41849EBF929A}" dt="2020-07-29T10:57:19.572" v="2024" actId="2696"/>
        <pc:sldMkLst>
          <pc:docMk/>
          <pc:sldMk cId="1982228309" sldId="375"/>
        </pc:sldMkLst>
      </pc:sldChg>
      <pc:sldChg chg="del">
        <pc:chgData name="Pandey, Ritvik" userId="aa3a3568-d05e-4c17-8352-5616d00f28b0" providerId="ADAL" clId="{124F64FB-20B4-4557-867D-41849EBF929A}" dt="2020-07-29T10:57:19.584" v="2025" actId="2696"/>
        <pc:sldMkLst>
          <pc:docMk/>
          <pc:sldMk cId="447476248" sldId="376"/>
        </pc:sldMkLst>
      </pc:sldChg>
      <pc:sldChg chg="del">
        <pc:chgData name="Pandey, Ritvik" userId="aa3a3568-d05e-4c17-8352-5616d00f28b0" providerId="ADAL" clId="{124F64FB-20B4-4557-867D-41849EBF929A}" dt="2020-07-29T10:58:07.283" v="2083" actId="2696"/>
        <pc:sldMkLst>
          <pc:docMk/>
          <pc:sldMk cId="1412393458" sldId="390"/>
        </pc:sldMkLst>
      </pc:sldChg>
      <pc:sldChg chg="del ord modTransition">
        <pc:chgData name="Pandey, Ritvik" userId="aa3a3568-d05e-4c17-8352-5616d00f28b0" providerId="ADAL" clId="{124F64FB-20B4-4557-867D-41849EBF929A}" dt="2020-07-29T12:19:48.064" v="2088" actId="2696"/>
        <pc:sldMkLst>
          <pc:docMk/>
          <pc:sldMk cId="3425045668" sldId="392"/>
        </pc:sldMkLst>
      </pc:sldChg>
      <pc:sldChg chg="add">
        <pc:chgData name="Pandey, Ritvik" userId="aa3a3568-d05e-4c17-8352-5616d00f28b0" providerId="ADAL" clId="{124F64FB-20B4-4557-867D-41849EBF929A}" dt="2020-07-29T13:56:03.669" v="2092"/>
        <pc:sldMkLst>
          <pc:docMk/>
          <pc:sldMk cId="506927986" sldId="393"/>
        </pc:sldMkLst>
      </pc:sldChg>
      <pc:sldChg chg="del">
        <pc:chgData name="Pandey, Ritvik" userId="aa3a3568-d05e-4c17-8352-5616d00f28b0" providerId="ADAL" clId="{124F64FB-20B4-4557-867D-41849EBF929A}" dt="2020-07-29T12:19:41.646" v="2087" actId="2696"/>
        <pc:sldMkLst>
          <pc:docMk/>
          <pc:sldMk cId="1754357383" sldId="393"/>
        </pc:sldMkLst>
      </pc:sldChg>
      <pc:sldChg chg="add">
        <pc:chgData name="Pandey, Ritvik" userId="aa3a3568-d05e-4c17-8352-5616d00f28b0" providerId="ADAL" clId="{124F64FB-20B4-4557-867D-41849EBF929A}" dt="2020-07-29T13:56:03.669" v="2092"/>
        <pc:sldMkLst>
          <pc:docMk/>
          <pc:sldMk cId="1344572592" sldId="394"/>
        </pc:sldMkLst>
      </pc:sldChg>
      <pc:sldChg chg="add">
        <pc:chgData name="Pandey, Ritvik" userId="aa3a3568-d05e-4c17-8352-5616d00f28b0" providerId="ADAL" clId="{124F64FB-20B4-4557-867D-41849EBF929A}" dt="2020-07-29T13:56:03.669" v="2092"/>
        <pc:sldMkLst>
          <pc:docMk/>
          <pc:sldMk cId="751456114" sldId="396"/>
        </pc:sldMkLst>
      </pc:sldChg>
      <pc:sldChg chg="add">
        <pc:chgData name="Pandey, Ritvik" userId="aa3a3568-d05e-4c17-8352-5616d00f28b0" providerId="ADAL" clId="{124F64FB-20B4-4557-867D-41849EBF929A}" dt="2020-07-29T13:53:30.609" v="2089"/>
        <pc:sldMkLst>
          <pc:docMk/>
          <pc:sldMk cId="3002400693" sldId="399"/>
        </pc:sldMkLst>
      </pc:sldChg>
      <pc:sldChg chg="del ord">
        <pc:chgData name="Pandey, Ritvik" userId="aa3a3568-d05e-4c17-8352-5616d00f28b0" providerId="ADAL" clId="{124F64FB-20B4-4557-867D-41849EBF929A}" dt="2020-07-29T12:19:38.434" v="2086" actId="2696"/>
        <pc:sldMkLst>
          <pc:docMk/>
          <pc:sldMk cId="3439635959" sldId="399"/>
        </pc:sldMkLst>
      </pc:sldChg>
      <pc:sldChg chg="addSp delSp modSp ord modTransition">
        <pc:chgData name="Pandey, Ritvik" userId="aa3a3568-d05e-4c17-8352-5616d00f28b0" providerId="ADAL" clId="{124F64FB-20B4-4557-867D-41849EBF929A}" dt="2020-07-29T19:47:11.487" v="2176" actId="20577"/>
        <pc:sldMkLst>
          <pc:docMk/>
          <pc:sldMk cId="510352184" sldId="400"/>
        </pc:sldMkLst>
        <pc:spChg chg="add mod">
          <ac:chgData name="Pandey, Ritvik" userId="aa3a3568-d05e-4c17-8352-5616d00f28b0" providerId="ADAL" clId="{124F64FB-20B4-4557-867D-41849EBF929A}" dt="2020-07-29T08:04:33.934" v="750" actId="1076"/>
          <ac:spMkLst>
            <pc:docMk/>
            <pc:sldMk cId="510352184" sldId="400"/>
            <ac:spMk id="2" creationId="{7C3B2F3E-F8A2-421B-A686-10F499C6389F}"/>
          </ac:spMkLst>
        </pc:spChg>
        <pc:spChg chg="add del mod">
          <ac:chgData name="Pandey, Ritvik" userId="aa3a3568-d05e-4c17-8352-5616d00f28b0" providerId="ADAL" clId="{124F64FB-20B4-4557-867D-41849EBF929A}" dt="2020-07-28T20:01:46.542" v="2"/>
          <ac:spMkLst>
            <pc:docMk/>
            <pc:sldMk cId="510352184" sldId="400"/>
            <ac:spMk id="2" creationId="{C03A8354-DEC2-41C2-B030-65F20161732F}"/>
          </ac:spMkLst>
        </pc:spChg>
        <pc:spChg chg="del mod">
          <ac:chgData name="Pandey, Ritvik" userId="aa3a3568-d05e-4c17-8352-5616d00f28b0" providerId="ADAL" clId="{124F64FB-20B4-4557-867D-41849EBF929A}" dt="2020-07-29T08:11:53.101" v="1054" actId="478"/>
          <ac:spMkLst>
            <pc:docMk/>
            <pc:sldMk cId="510352184" sldId="400"/>
            <ac:spMk id="3" creationId="{64D5EE48-EE08-4D89-AC25-923735F324D4}"/>
          </ac:spMkLst>
        </pc:spChg>
        <pc:spChg chg="add del mod">
          <ac:chgData name="Pandey, Ritvik" userId="aa3a3568-d05e-4c17-8352-5616d00f28b0" providerId="ADAL" clId="{124F64FB-20B4-4557-867D-41849EBF929A}" dt="2020-07-28T20:01:46.542" v="2"/>
          <ac:spMkLst>
            <pc:docMk/>
            <pc:sldMk cId="510352184" sldId="400"/>
            <ac:spMk id="6" creationId="{DAF8CB8C-3DBB-477B-A8CA-7A1285475866}"/>
          </ac:spMkLst>
        </pc:spChg>
        <pc:spChg chg="add del mod">
          <ac:chgData name="Pandey, Ritvik" userId="aa3a3568-d05e-4c17-8352-5616d00f28b0" providerId="ADAL" clId="{124F64FB-20B4-4557-867D-41849EBF929A}" dt="2020-07-29T08:11:59.154" v="1056" actId="478"/>
          <ac:spMkLst>
            <pc:docMk/>
            <pc:sldMk cId="510352184" sldId="400"/>
            <ac:spMk id="7" creationId="{5CD9613A-18E3-49FD-92D4-FACD82EC40B4}"/>
          </ac:spMkLst>
        </pc:spChg>
        <pc:spChg chg="add del mod">
          <ac:chgData name="Pandey, Ritvik" userId="aa3a3568-d05e-4c17-8352-5616d00f28b0" providerId="ADAL" clId="{124F64FB-20B4-4557-867D-41849EBF929A}" dt="2020-07-28T20:01:46.542" v="2"/>
          <ac:spMkLst>
            <pc:docMk/>
            <pc:sldMk cId="510352184" sldId="400"/>
            <ac:spMk id="7" creationId="{66FA21B7-009F-4104-BE1D-4D4D780E4E13}"/>
          </ac:spMkLst>
        </pc:spChg>
        <pc:spChg chg="add del mod">
          <ac:chgData name="Pandey, Ritvik" userId="aa3a3568-d05e-4c17-8352-5616d00f28b0" providerId="ADAL" clId="{124F64FB-20B4-4557-867D-41849EBF929A}" dt="2020-07-28T20:01:46.542" v="2"/>
          <ac:spMkLst>
            <pc:docMk/>
            <pc:sldMk cId="510352184" sldId="400"/>
            <ac:spMk id="8" creationId="{4A8C338B-E36D-448D-9418-44DEDD7E1EDF}"/>
          </ac:spMkLst>
        </pc:spChg>
        <pc:spChg chg="add del mod">
          <ac:chgData name="Pandey, Ritvik" userId="aa3a3568-d05e-4c17-8352-5616d00f28b0" providerId="ADAL" clId="{124F64FB-20B4-4557-867D-41849EBF929A}" dt="2020-07-28T20:01:46.542" v="2"/>
          <ac:spMkLst>
            <pc:docMk/>
            <pc:sldMk cId="510352184" sldId="400"/>
            <ac:spMk id="9" creationId="{50095B36-5F1F-42BC-91E6-085E0A7D9F0F}"/>
          </ac:spMkLst>
        </pc:spChg>
        <pc:spChg chg="mod">
          <ac:chgData name="Pandey, Ritvik" userId="aa3a3568-d05e-4c17-8352-5616d00f28b0" providerId="ADAL" clId="{124F64FB-20B4-4557-867D-41849EBF929A}" dt="2020-07-29T08:11:42.849" v="1053" actId="1076"/>
          <ac:spMkLst>
            <pc:docMk/>
            <pc:sldMk cId="510352184" sldId="400"/>
            <ac:spMk id="11" creationId="{EFB91C17-6A17-47FF-974F-E0E5B04C8968}"/>
          </ac:spMkLst>
        </pc:spChg>
        <pc:spChg chg="add mod">
          <ac:chgData name="Pandey, Ritvik" userId="aa3a3568-d05e-4c17-8352-5616d00f28b0" providerId="ADAL" clId="{124F64FB-20B4-4557-867D-41849EBF929A}" dt="2020-07-29T08:42:35.662" v="1695" actId="164"/>
          <ac:spMkLst>
            <pc:docMk/>
            <pc:sldMk cId="510352184" sldId="400"/>
            <ac:spMk id="13" creationId="{C2512162-EDA2-430A-B80A-7A516E5766D1}"/>
          </ac:spMkLst>
        </pc:spChg>
        <pc:spChg chg="add mod">
          <ac:chgData name="Pandey, Ritvik" userId="aa3a3568-d05e-4c17-8352-5616d00f28b0" providerId="ADAL" clId="{124F64FB-20B4-4557-867D-41849EBF929A}" dt="2020-07-29T08:42:35.662" v="1695" actId="164"/>
          <ac:spMkLst>
            <pc:docMk/>
            <pc:sldMk cId="510352184" sldId="400"/>
            <ac:spMk id="15" creationId="{AD49E2F9-4C22-467B-8256-A60C78D059D4}"/>
          </ac:spMkLst>
        </pc:spChg>
        <pc:spChg chg="add mod">
          <ac:chgData name="Pandey, Ritvik" userId="aa3a3568-d05e-4c17-8352-5616d00f28b0" providerId="ADAL" clId="{124F64FB-20B4-4557-867D-41849EBF929A}" dt="2020-07-29T19:47:11.487" v="2176" actId="20577"/>
          <ac:spMkLst>
            <pc:docMk/>
            <pc:sldMk cId="510352184" sldId="400"/>
            <ac:spMk id="16" creationId="{67100E99-C9DF-400B-9C20-7836ECAB1A79}"/>
          </ac:spMkLst>
        </pc:spChg>
        <pc:spChg chg="add mod">
          <ac:chgData name="Pandey, Ritvik" userId="aa3a3568-d05e-4c17-8352-5616d00f28b0" providerId="ADAL" clId="{124F64FB-20B4-4557-867D-41849EBF929A}" dt="2020-07-29T08:42:35.662" v="1695" actId="164"/>
          <ac:spMkLst>
            <pc:docMk/>
            <pc:sldMk cId="510352184" sldId="400"/>
            <ac:spMk id="17" creationId="{BC4FB7A2-5437-49A3-9A2D-0BEA83E6295E}"/>
          </ac:spMkLst>
        </pc:spChg>
        <pc:spChg chg="mod">
          <ac:chgData name="Pandey, Ritvik" userId="aa3a3568-d05e-4c17-8352-5616d00f28b0" providerId="ADAL" clId="{124F64FB-20B4-4557-867D-41849EBF929A}" dt="2020-07-29T08:42:35.662" v="1695" actId="164"/>
          <ac:spMkLst>
            <pc:docMk/>
            <pc:sldMk cId="510352184" sldId="400"/>
            <ac:spMk id="18" creationId="{94A7BB9D-19CE-4303-A940-5AE72ACB7FFB}"/>
          </ac:spMkLst>
        </pc:spChg>
        <pc:spChg chg="add mod">
          <ac:chgData name="Pandey, Ritvik" userId="aa3a3568-d05e-4c17-8352-5616d00f28b0" providerId="ADAL" clId="{124F64FB-20B4-4557-867D-41849EBF929A}" dt="2020-07-29T08:42:35.662" v="1695" actId="164"/>
          <ac:spMkLst>
            <pc:docMk/>
            <pc:sldMk cId="510352184" sldId="400"/>
            <ac:spMk id="19" creationId="{DF1B3DD0-0D53-4D45-81A9-2EF58C40D8A1}"/>
          </ac:spMkLst>
        </pc:spChg>
        <pc:spChg chg="add mod">
          <ac:chgData name="Pandey, Ritvik" userId="aa3a3568-d05e-4c17-8352-5616d00f28b0" providerId="ADAL" clId="{124F64FB-20B4-4557-867D-41849EBF929A}" dt="2020-07-29T08:04:33.934" v="750" actId="1076"/>
          <ac:spMkLst>
            <pc:docMk/>
            <pc:sldMk cId="510352184" sldId="400"/>
            <ac:spMk id="24" creationId="{24CC0B51-1312-4839-888C-C3821230F8FD}"/>
          </ac:spMkLst>
        </pc:spChg>
        <pc:spChg chg="add mod">
          <ac:chgData name="Pandey, Ritvik" userId="aa3a3568-d05e-4c17-8352-5616d00f28b0" providerId="ADAL" clId="{124F64FB-20B4-4557-867D-41849EBF929A}" dt="2020-07-29T08:06:21.646" v="829" actId="14100"/>
          <ac:spMkLst>
            <pc:docMk/>
            <pc:sldMk cId="510352184" sldId="400"/>
            <ac:spMk id="25" creationId="{D203F965-F671-41CF-BD78-7CF79EF24B58}"/>
          </ac:spMkLst>
        </pc:spChg>
        <pc:spChg chg="add mod">
          <ac:chgData name="Pandey, Ritvik" userId="aa3a3568-d05e-4c17-8352-5616d00f28b0" providerId="ADAL" clId="{124F64FB-20B4-4557-867D-41849EBF929A}" dt="2020-07-29T08:14:40.679" v="1206" actId="14100"/>
          <ac:spMkLst>
            <pc:docMk/>
            <pc:sldMk cId="510352184" sldId="400"/>
            <ac:spMk id="27" creationId="{7174C46C-4A20-4865-80E3-5AF51F261B23}"/>
          </ac:spMkLst>
        </pc:spChg>
        <pc:spChg chg="add mod">
          <ac:chgData name="Pandey, Ritvik" userId="aa3a3568-d05e-4c17-8352-5616d00f28b0" providerId="ADAL" clId="{124F64FB-20B4-4557-867D-41849EBF929A}" dt="2020-07-29T08:10:18.846" v="1052" actId="1076"/>
          <ac:spMkLst>
            <pc:docMk/>
            <pc:sldMk cId="510352184" sldId="400"/>
            <ac:spMk id="28" creationId="{B4EE9454-21FC-4005-8AA5-9FF58F38629B}"/>
          </ac:spMkLst>
        </pc:spChg>
        <pc:spChg chg="add mod">
          <ac:chgData name="Pandey, Ritvik" userId="aa3a3568-d05e-4c17-8352-5616d00f28b0" providerId="ADAL" clId="{124F64FB-20B4-4557-867D-41849EBF929A}" dt="2020-07-29T08:13:19.778" v="1198" actId="14100"/>
          <ac:spMkLst>
            <pc:docMk/>
            <pc:sldMk cId="510352184" sldId="400"/>
            <ac:spMk id="30" creationId="{5E601359-3205-4B9B-82E5-14A26F06C4EF}"/>
          </ac:spMkLst>
        </pc:spChg>
        <pc:spChg chg="add mod">
          <ac:chgData name="Pandey, Ritvik" userId="aa3a3568-d05e-4c17-8352-5616d00f28b0" providerId="ADAL" clId="{124F64FB-20B4-4557-867D-41849EBF929A}" dt="2020-07-29T08:42:35.662" v="1695" actId="164"/>
          <ac:spMkLst>
            <pc:docMk/>
            <pc:sldMk cId="510352184" sldId="400"/>
            <ac:spMk id="31" creationId="{0068482D-8F16-4E42-A2FD-DECD793593D0}"/>
          </ac:spMkLst>
        </pc:spChg>
        <pc:spChg chg="add del mod">
          <ac:chgData name="Pandey, Ritvik" userId="aa3a3568-d05e-4c17-8352-5616d00f28b0" providerId="ADAL" clId="{124F64FB-20B4-4557-867D-41849EBF929A}" dt="2020-07-29T08:40:29.826" v="1687" actId="478"/>
          <ac:spMkLst>
            <pc:docMk/>
            <pc:sldMk cId="510352184" sldId="400"/>
            <ac:spMk id="32" creationId="{431F1471-08CE-4835-95F4-4D834CB5A0FF}"/>
          </ac:spMkLst>
        </pc:spChg>
        <pc:spChg chg="add mod">
          <ac:chgData name="Pandey, Ritvik" userId="aa3a3568-d05e-4c17-8352-5616d00f28b0" providerId="ADAL" clId="{124F64FB-20B4-4557-867D-41849EBF929A}" dt="2020-07-29T08:42:35.662" v="1695" actId="164"/>
          <ac:spMkLst>
            <pc:docMk/>
            <pc:sldMk cId="510352184" sldId="400"/>
            <ac:spMk id="33" creationId="{6152DC30-1F99-47FD-AEBC-7BEF54F7F1E2}"/>
          </ac:spMkLst>
        </pc:spChg>
        <pc:grpChg chg="add mod">
          <ac:chgData name="Pandey, Ritvik" userId="aa3a3568-d05e-4c17-8352-5616d00f28b0" providerId="ADAL" clId="{124F64FB-20B4-4557-867D-41849EBF929A}" dt="2020-07-29T08:42:35.662" v="1695" actId="164"/>
          <ac:grpSpMkLst>
            <pc:docMk/>
            <pc:sldMk cId="510352184" sldId="400"/>
            <ac:grpSpMk id="34" creationId="{FE15CEDE-CDFD-4EDB-9498-75A43B252F04}"/>
          </ac:grpSpMkLst>
        </pc:grpChg>
        <pc:cxnChg chg="add mod">
          <ac:chgData name="Pandey, Ritvik" userId="aa3a3568-d05e-4c17-8352-5616d00f28b0" providerId="ADAL" clId="{124F64FB-20B4-4557-867D-41849EBF929A}" dt="2020-07-29T08:42:35.662" v="1695" actId="164"/>
          <ac:cxnSpMkLst>
            <pc:docMk/>
            <pc:sldMk cId="510352184" sldId="400"/>
            <ac:cxnSpMk id="12" creationId="{AC60E58C-DAE5-4892-8A6E-C9F62C5858A9}"/>
          </ac:cxnSpMkLst>
        </pc:cxnChg>
        <pc:cxnChg chg="add mod">
          <ac:chgData name="Pandey, Ritvik" userId="aa3a3568-d05e-4c17-8352-5616d00f28b0" providerId="ADAL" clId="{124F64FB-20B4-4557-867D-41849EBF929A}" dt="2020-07-29T08:42:35.662" v="1695" actId="164"/>
          <ac:cxnSpMkLst>
            <pc:docMk/>
            <pc:sldMk cId="510352184" sldId="400"/>
            <ac:cxnSpMk id="20" creationId="{B46CC674-D954-44FF-B397-5B9342DCE896}"/>
          </ac:cxnSpMkLst>
        </pc:cxnChg>
        <pc:cxnChg chg="add mod">
          <ac:chgData name="Pandey, Ritvik" userId="aa3a3568-d05e-4c17-8352-5616d00f28b0" providerId="ADAL" clId="{124F64FB-20B4-4557-867D-41849EBF929A}" dt="2020-07-29T08:42:35.662" v="1695" actId="164"/>
          <ac:cxnSpMkLst>
            <pc:docMk/>
            <pc:sldMk cId="510352184" sldId="400"/>
            <ac:cxnSpMk id="23" creationId="{C0ADE840-FB89-4EBC-A9F0-7FD023CFCAB1}"/>
          </ac:cxnSpMkLst>
        </pc:cxnChg>
        <pc:cxnChg chg="add mod">
          <ac:chgData name="Pandey, Ritvik" userId="aa3a3568-d05e-4c17-8352-5616d00f28b0" providerId="ADAL" clId="{124F64FB-20B4-4557-867D-41849EBF929A}" dt="2020-07-29T08:42:35.662" v="1695" actId="164"/>
          <ac:cxnSpMkLst>
            <pc:docMk/>
            <pc:sldMk cId="510352184" sldId="400"/>
            <ac:cxnSpMk id="26" creationId="{4F7DC622-3520-4A98-BC49-032AAC8A8662}"/>
          </ac:cxnSpMkLst>
        </pc:cxnChg>
        <pc:cxnChg chg="add mod">
          <ac:chgData name="Pandey, Ritvik" userId="aa3a3568-d05e-4c17-8352-5616d00f28b0" providerId="ADAL" clId="{124F64FB-20B4-4557-867D-41849EBF929A}" dt="2020-07-29T08:42:35.662" v="1695" actId="164"/>
          <ac:cxnSpMkLst>
            <pc:docMk/>
            <pc:sldMk cId="510352184" sldId="400"/>
            <ac:cxnSpMk id="29" creationId="{18748A17-2B36-4CCC-85E4-6A9D108C0BD7}"/>
          </ac:cxnSpMkLst>
        </pc:cxnChg>
        <pc:cxnChg chg="add mod">
          <ac:chgData name="Pandey, Ritvik" userId="aa3a3568-d05e-4c17-8352-5616d00f28b0" providerId="ADAL" clId="{124F64FB-20B4-4557-867D-41849EBF929A}" dt="2020-07-29T08:42:35.662" v="1695" actId="164"/>
          <ac:cxnSpMkLst>
            <pc:docMk/>
            <pc:sldMk cId="510352184" sldId="400"/>
            <ac:cxnSpMk id="35" creationId="{2D2CBA26-8464-493D-B9FA-048A767EFDB4}"/>
          </ac:cxnSpMkLst>
        </pc:cxnChg>
        <pc:cxnChg chg="add mod">
          <ac:chgData name="Pandey, Ritvik" userId="aa3a3568-d05e-4c17-8352-5616d00f28b0" providerId="ADAL" clId="{124F64FB-20B4-4557-867D-41849EBF929A}" dt="2020-07-29T08:42:35.662" v="1695" actId="164"/>
          <ac:cxnSpMkLst>
            <pc:docMk/>
            <pc:sldMk cId="510352184" sldId="400"/>
            <ac:cxnSpMk id="37" creationId="{AADAE293-0804-47B1-970A-D9F192692522}"/>
          </ac:cxnSpMkLst>
        </pc:cxnChg>
      </pc:sldChg>
      <pc:sldChg chg="add">
        <pc:chgData name="Pandey, Ritvik" userId="aa3a3568-d05e-4c17-8352-5616d00f28b0" providerId="ADAL" clId="{124F64FB-20B4-4557-867D-41849EBF929A}" dt="2020-07-29T13:53:30.609" v="2089"/>
        <pc:sldMkLst>
          <pc:docMk/>
          <pc:sldMk cId="2337627590" sldId="401"/>
        </pc:sldMkLst>
      </pc:sldChg>
      <pc:sldChg chg="modSp add">
        <pc:chgData name="Pandey, Ritvik" userId="aa3a3568-d05e-4c17-8352-5616d00f28b0" providerId="ADAL" clId="{124F64FB-20B4-4557-867D-41849EBF929A}" dt="2020-07-28T20:38:29.685" v="100" actId="1076"/>
        <pc:sldMkLst>
          <pc:docMk/>
          <pc:sldMk cId="2058795238" sldId="404"/>
        </pc:sldMkLst>
        <pc:spChg chg="mod">
          <ac:chgData name="Pandey, Ritvik" userId="aa3a3568-d05e-4c17-8352-5616d00f28b0" providerId="ADAL" clId="{124F64FB-20B4-4557-867D-41849EBF929A}" dt="2020-07-28T20:38:29.685" v="100" actId="1076"/>
          <ac:spMkLst>
            <pc:docMk/>
            <pc:sldMk cId="2058795238" sldId="404"/>
            <ac:spMk id="12" creationId="{33680D53-60DD-467D-BEC9-3253DC350631}"/>
          </ac:spMkLst>
        </pc:spChg>
      </pc:sldChg>
      <pc:sldChg chg="addSp delSp modSp add">
        <pc:chgData name="Pandey, Ritvik" userId="aa3a3568-d05e-4c17-8352-5616d00f28b0" providerId="ADAL" clId="{124F64FB-20B4-4557-867D-41849EBF929A}" dt="2020-07-30T04:18:35.003" v="2182" actId="1076"/>
        <pc:sldMkLst>
          <pc:docMk/>
          <pc:sldMk cId="3943475883" sldId="405"/>
        </pc:sldMkLst>
        <pc:spChg chg="del">
          <ac:chgData name="Pandey, Ritvik" userId="aa3a3568-d05e-4c17-8352-5616d00f28b0" providerId="ADAL" clId="{124F64FB-20B4-4557-867D-41849EBF929A}" dt="2020-07-29T08:18:48.450" v="1210" actId="478"/>
          <ac:spMkLst>
            <pc:docMk/>
            <pc:sldMk cId="3943475883" sldId="405"/>
            <ac:spMk id="2" creationId="{7C3B2F3E-F8A2-421B-A686-10F499C6389F}"/>
          </ac:spMkLst>
        </pc:spChg>
        <pc:spChg chg="add mod">
          <ac:chgData name="Pandey, Ritvik" userId="aa3a3568-d05e-4c17-8352-5616d00f28b0" providerId="ADAL" clId="{124F64FB-20B4-4557-867D-41849EBF929A}" dt="2020-07-29T08:35:03.781" v="1620" actId="1035"/>
          <ac:spMkLst>
            <pc:docMk/>
            <pc:sldMk cId="3943475883" sldId="405"/>
            <ac:spMk id="3" creationId="{6782DF40-27F1-416B-91CB-3E06EDB313D3}"/>
          </ac:spMkLst>
        </pc:spChg>
        <pc:spChg chg="add del mod">
          <ac:chgData name="Pandey, Ritvik" userId="aa3a3568-d05e-4c17-8352-5616d00f28b0" providerId="ADAL" clId="{124F64FB-20B4-4557-867D-41849EBF929A}" dt="2020-07-29T08:27:05.806" v="1303" actId="767"/>
          <ac:spMkLst>
            <pc:docMk/>
            <pc:sldMk cId="3943475883" sldId="405"/>
            <ac:spMk id="8" creationId="{7104AB4A-477D-48FB-9887-E9416A05D534}"/>
          </ac:spMkLst>
        </pc:spChg>
        <pc:spChg chg="mod">
          <ac:chgData name="Pandey, Ritvik" userId="aa3a3568-d05e-4c17-8352-5616d00f28b0" providerId="ADAL" clId="{124F64FB-20B4-4557-867D-41849EBF929A}" dt="2020-07-29T08:19:07.283" v="1256" actId="20577"/>
          <ac:spMkLst>
            <pc:docMk/>
            <pc:sldMk cId="3943475883" sldId="405"/>
            <ac:spMk id="11" creationId="{EFB91C17-6A17-47FF-974F-E0E5B04C8968}"/>
          </ac:spMkLst>
        </pc:spChg>
        <pc:spChg chg="del">
          <ac:chgData name="Pandey, Ritvik" userId="aa3a3568-d05e-4c17-8352-5616d00f28b0" providerId="ADAL" clId="{124F64FB-20B4-4557-867D-41849EBF929A}" dt="2020-07-29T08:18:45.738" v="1209" actId="478"/>
          <ac:spMkLst>
            <pc:docMk/>
            <pc:sldMk cId="3943475883" sldId="405"/>
            <ac:spMk id="13" creationId="{C2512162-EDA2-430A-B80A-7A516E5766D1}"/>
          </ac:spMkLst>
        </pc:spChg>
        <pc:spChg chg="mod">
          <ac:chgData name="Pandey, Ritvik" userId="aa3a3568-d05e-4c17-8352-5616d00f28b0" providerId="ADAL" clId="{124F64FB-20B4-4557-867D-41849EBF929A}" dt="2020-07-29T08:46:22.727" v="1770" actId="1076"/>
          <ac:spMkLst>
            <pc:docMk/>
            <pc:sldMk cId="3943475883" sldId="405"/>
            <ac:spMk id="14" creationId="{8669CBF8-D4B3-4274-AEDE-8FA1A43C2C12}"/>
          </ac:spMkLst>
        </pc:spChg>
        <pc:spChg chg="del">
          <ac:chgData name="Pandey, Ritvik" userId="aa3a3568-d05e-4c17-8352-5616d00f28b0" providerId="ADAL" clId="{124F64FB-20B4-4557-867D-41849EBF929A}" dt="2020-07-29T08:18:45.738" v="1209" actId="478"/>
          <ac:spMkLst>
            <pc:docMk/>
            <pc:sldMk cId="3943475883" sldId="405"/>
            <ac:spMk id="15" creationId="{AD49E2F9-4C22-467B-8256-A60C78D059D4}"/>
          </ac:spMkLst>
        </pc:spChg>
        <pc:spChg chg="del">
          <ac:chgData name="Pandey, Ritvik" userId="aa3a3568-d05e-4c17-8352-5616d00f28b0" providerId="ADAL" clId="{124F64FB-20B4-4557-867D-41849EBF929A}" dt="2020-07-29T08:18:45.738" v="1209" actId="478"/>
          <ac:spMkLst>
            <pc:docMk/>
            <pc:sldMk cId="3943475883" sldId="405"/>
            <ac:spMk id="16" creationId="{67100E99-C9DF-400B-9C20-7836ECAB1A79}"/>
          </ac:spMkLst>
        </pc:spChg>
        <pc:spChg chg="del">
          <ac:chgData name="Pandey, Ritvik" userId="aa3a3568-d05e-4c17-8352-5616d00f28b0" providerId="ADAL" clId="{124F64FB-20B4-4557-867D-41849EBF929A}" dt="2020-07-29T08:18:45.738" v="1209" actId="478"/>
          <ac:spMkLst>
            <pc:docMk/>
            <pc:sldMk cId="3943475883" sldId="405"/>
            <ac:spMk id="17" creationId="{BC4FB7A2-5437-49A3-9A2D-0BEA83E6295E}"/>
          </ac:spMkLst>
        </pc:spChg>
        <pc:spChg chg="del">
          <ac:chgData name="Pandey, Ritvik" userId="aa3a3568-d05e-4c17-8352-5616d00f28b0" providerId="ADAL" clId="{124F64FB-20B4-4557-867D-41849EBF929A}" dt="2020-07-29T08:18:45.738" v="1209" actId="478"/>
          <ac:spMkLst>
            <pc:docMk/>
            <pc:sldMk cId="3943475883" sldId="405"/>
            <ac:spMk id="18" creationId="{94A7BB9D-19CE-4303-A940-5AE72ACB7FFB}"/>
          </ac:spMkLst>
        </pc:spChg>
        <pc:spChg chg="del">
          <ac:chgData name="Pandey, Ritvik" userId="aa3a3568-d05e-4c17-8352-5616d00f28b0" providerId="ADAL" clId="{124F64FB-20B4-4557-867D-41849EBF929A}" dt="2020-07-29T08:18:45.738" v="1209" actId="478"/>
          <ac:spMkLst>
            <pc:docMk/>
            <pc:sldMk cId="3943475883" sldId="405"/>
            <ac:spMk id="19" creationId="{DF1B3DD0-0D53-4D45-81A9-2EF58C40D8A1}"/>
          </ac:spMkLst>
        </pc:spChg>
        <pc:spChg chg="del">
          <ac:chgData name="Pandey, Ritvik" userId="aa3a3568-d05e-4c17-8352-5616d00f28b0" providerId="ADAL" clId="{124F64FB-20B4-4557-867D-41849EBF929A}" dt="2020-07-29T08:18:48.450" v="1210" actId="478"/>
          <ac:spMkLst>
            <pc:docMk/>
            <pc:sldMk cId="3943475883" sldId="405"/>
            <ac:spMk id="24" creationId="{24CC0B51-1312-4839-888C-C3821230F8FD}"/>
          </ac:spMkLst>
        </pc:spChg>
        <pc:spChg chg="del">
          <ac:chgData name="Pandey, Ritvik" userId="aa3a3568-d05e-4c17-8352-5616d00f28b0" providerId="ADAL" clId="{124F64FB-20B4-4557-867D-41849EBF929A}" dt="2020-07-29T08:18:48.450" v="1210" actId="478"/>
          <ac:spMkLst>
            <pc:docMk/>
            <pc:sldMk cId="3943475883" sldId="405"/>
            <ac:spMk id="25" creationId="{D203F965-F671-41CF-BD78-7CF79EF24B58}"/>
          </ac:spMkLst>
        </pc:spChg>
        <pc:spChg chg="del">
          <ac:chgData name="Pandey, Ritvik" userId="aa3a3568-d05e-4c17-8352-5616d00f28b0" providerId="ADAL" clId="{124F64FB-20B4-4557-867D-41849EBF929A}" dt="2020-07-29T08:18:48.450" v="1210" actId="478"/>
          <ac:spMkLst>
            <pc:docMk/>
            <pc:sldMk cId="3943475883" sldId="405"/>
            <ac:spMk id="27" creationId="{7174C46C-4A20-4865-80E3-5AF51F261B23}"/>
          </ac:spMkLst>
        </pc:spChg>
        <pc:spChg chg="del">
          <ac:chgData name="Pandey, Ritvik" userId="aa3a3568-d05e-4c17-8352-5616d00f28b0" providerId="ADAL" clId="{124F64FB-20B4-4557-867D-41849EBF929A}" dt="2020-07-29T08:18:48.450" v="1210" actId="478"/>
          <ac:spMkLst>
            <pc:docMk/>
            <pc:sldMk cId="3943475883" sldId="405"/>
            <ac:spMk id="28" creationId="{B4EE9454-21FC-4005-8AA5-9FF58F38629B}"/>
          </ac:spMkLst>
        </pc:spChg>
        <pc:spChg chg="del">
          <ac:chgData name="Pandey, Ritvik" userId="aa3a3568-d05e-4c17-8352-5616d00f28b0" providerId="ADAL" clId="{124F64FB-20B4-4557-867D-41849EBF929A}" dt="2020-07-29T08:18:48.450" v="1210" actId="478"/>
          <ac:spMkLst>
            <pc:docMk/>
            <pc:sldMk cId="3943475883" sldId="405"/>
            <ac:spMk id="30" creationId="{5E601359-3205-4B9B-82E5-14A26F06C4EF}"/>
          </ac:spMkLst>
        </pc:spChg>
        <pc:spChg chg="del">
          <ac:chgData name="Pandey, Ritvik" userId="aa3a3568-d05e-4c17-8352-5616d00f28b0" providerId="ADAL" clId="{124F64FB-20B4-4557-867D-41849EBF929A}" dt="2020-07-29T08:18:45.738" v="1209" actId="478"/>
          <ac:spMkLst>
            <pc:docMk/>
            <pc:sldMk cId="3943475883" sldId="405"/>
            <ac:spMk id="32" creationId="{431F1471-08CE-4835-95F4-4D834CB5A0FF}"/>
          </ac:spMkLst>
        </pc:spChg>
        <pc:spChg chg="del">
          <ac:chgData name="Pandey, Ritvik" userId="aa3a3568-d05e-4c17-8352-5616d00f28b0" providerId="ADAL" clId="{124F64FB-20B4-4557-867D-41849EBF929A}" dt="2020-07-29T08:18:45.738" v="1209" actId="478"/>
          <ac:spMkLst>
            <pc:docMk/>
            <pc:sldMk cId="3943475883" sldId="405"/>
            <ac:spMk id="33" creationId="{6152DC30-1F99-47FD-AEBC-7BEF54F7F1E2}"/>
          </ac:spMkLst>
        </pc:spChg>
        <pc:spChg chg="add mod">
          <ac:chgData name="Pandey, Ritvik" userId="aa3a3568-d05e-4c17-8352-5616d00f28b0" providerId="ADAL" clId="{124F64FB-20B4-4557-867D-41849EBF929A}" dt="2020-07-29T08:50:11.857" v="1802" actId="1076"/>
          <ac:spMkLst>
            <pc:docMk/>
            <pc:sldMk cId="3943475883" sldId="405"/>
            <ac:spMk id="34" creationId="{237BA46F-5EE8-4265-A392-EDFE9D9F5748}"/>
          </ac:spMkLst>
        </pc:spChg>
        <pc:spChg chg="add mod">
          <ac:chgData name="Pandey, Ritvik" userId="aa3a3568-d05e-4c17-8352-5616d00f28b0" providerId="ADAL" clId="{124F64FB-20B4-4557-867D-41849EBF929A}" dt="2020-07-30T04:18:14.508" v="2178" actId="1076"/>
          <ac:spMkLst>
            <pc:docMk/>
            <pc:sldMk cId="3943475883" sldId="405"/>
            <ac:spMk id="36" creationId="{0AE8422A-B8E9-4582-B032-143A0AFB2AB1}"/>
          </ac:spMkLst>
        </pc:spChg>
        <pc:spChg chg="add mod">
          <ac:chgData name="Pandey, Ritvik" userId="aa3a3568-d05e-4c17-8352-5616d00f28b0" providerId="ADAL" clId="{124F64FB-20B4-4557-867D-41849EBF929A}" dt="2020-07-29T08:52:51.951" v="1843" actId="1076"/>
          <ac:spMkLst>
            <pc:docMk/>
            <pc:sldMk cId="3943475883" sldId="405"/>
            <ac:spMk id="39" creationId="{FABCBD75-85BA-4E07-ABB6-48B1B5005043}"/>
          </ac:spMkLst>
        </pc:spChg>
        <pc:spChg chg="add mod">
          <ac:chgData name="Pandey, Ritvik" userId="aa3a3568-d05e-4c17-8352-5616d00f28b0" providerId="ADAL" clId="{124F64FB-20B4-4557-867D-41849EBF929A}" dt="2020-07-29T08:47:48.957" v="1784" actId="1076"/>
          <ac:spMkLst>
            <pc:docMk/>
            <pc:sldMk cId="3943475883" sldId="405"/>
            <ac:spMk id="40" creationId="{F1C31772-9FCA-4FBB-806B-E44F3AC0A2B7}"/>
          </ac:spMkLst>
        </pc:spChg>
        <pc:spChg chg="add mod">
          <ac:chgData name="Pandey, Ritvik" userId="aa3a3568-d05e-4c17-8352-5616d00f28b0" providerId="ADAL" clId="{124F64FB-20B4-4557-867D-41849EBF929A}" dt="2020-07-29T08:48:17.941" v="1785" actId="1076"/>
          <ac:spMkLst>
            <pc:docMk/>
            <pc:sldMk cId="3943475883" sldId="405"/>
            <ac:spMk id="41" creationId="{73564714-E2AD-493D-9F03-DEA98AEDF9B3}"/>
          </ac:spMkLst>
        </pc:spChg>
        <pc:spChg chg="add del mod">
          <ac:chgData name="Pandey, Ritvik" userId="aa3a3568-d05e-4c17-8352-5616d00f28b0" providerId="ADAL" clId="{124F64FB-20B4-4557-867D-41849EBF929A}" dt="2020-07-29T08:31:26.649" v="1411" actId="478"/>
          <ac:spMkLst>
            <pc:docMk/>
            <pc:sldMk cId="3943475883" sldId="405"/>
            <ac:spMk id="42" creationId="{D956F0B0-85F8-44C3-8BA6-F2C82EF4EBF2}"/>
          </ac:spMkLst>
        </pc:spChg>
        <pc:spChg chg="add mod">
          <ac:chgData name="Pandey, Ritvik" userId="aa3a3568-d05e-4c17-8352-5616d00f28b0" providerId="ADAL" clId="{124F64FB-20B4-4557-867D-41849EBF929A}" dt="2020-07-30T04:18:35.003" v="2182" actId="1076"/>
          <ac:spMkLst>
            <pc:docMk/>
            <pc:sldMk cId="3943475883" sldId="405"/>
            <ac:spMk id="45" creationId="{66696244-30A2-4BE0-8827-5B11C052B199}"/>
          </ac:spMkLst>
        </pc:spChg>
        <pc:spChg chg="add del mod">
          <ac:chgData name="Pandey, Ritvik" userId="aa3a3568-d05e-4c17-8352-5616d00f28b0" providerId="ADAL" clId="{124F64FB-20B4-4557-867D-41849EBF929A}" dt="2020-07-29T08:42:25.278" v="1694"/>
          <ac:spMkLst>
            <pc:docMk/>
            <pc:sldMk cId="3943475883" sldId="405"/>
            <ac:spMk id="50" creationId="{4F5621EC-6653-48D8-AA9B-03914BBEF7AB}"/>
          </ac:spMkLst>
        </pc:spChg>
        <pc:spChg chg="add del mod">
          <ac:chgData name="Pandey, Ritvik" userId="aa3a3568-d05e-4c17-8352-5616d00f28b0" providerId="ADAL" clId="{124F64FB-20B4-4557-867D-41849EBF929A}" dt="2020-07-29T08:42:25.278" v="1694"/>
          <ac:spMkLst>
            <pc:docMk/>
            <pc:sldMk cId="3943475883" sldId="405"/>
            <ac:spMk id="51" creationId="{07733DFC-DAD4-45A3-8D1B-630DF4A5C8A4}"/>
          </ac:spMkLst>
        </pc:spChg>
        <pc:spChg chg="add del mod">
          <ac:chgData name="Pandey, Ritvik" userId="aa3a3568-d05e-4c17-8352-5616d00f28b0" providerId="ADAL" clId="{124F64FB-20B4-4557-867D-41849EBF929A}" dt="2020-07-29T08:42:25.278" v="1694"/>
          <ac:spMkLst>
            <pc:docMk/>
            <pc:sldMk cId="3943475883" sldId="405"/>
            <ac:spMk id="52" creationId="{B2F20A8D-49F3-4229-9E12-EAAC7559D21C}"/>
          </ac:spMkLst>
        </pc:spChg>
        <pc:spChg chg="add del mod">
          <ac:chgData name="Pandey, Ritvik" userId="aa3a3568-d05e-4c17-8352-5616d00f28b0" providerId="ADAL" clId="{124F64FB-20B4-4557-867D-41849EBF929A}" dt="2020-07-29T08:42:25.278" v="1694"/>
          <ac:spMkLst>
            <pc:docMk/>
            <pc:sldMk cId="3943475883" sldId="405"/>
            <ac:spMk id="53" creationId="{EDD3EF87-E774-4DC6-B172-8413E40AA4BD}"/>
          </ac:spMkLst>
        </pc:spChg>
        <pc:spChg chg="add del mod">
          <ac:chgData name="Pandey, Ritvik" userId="aa3a3568-d05e-4c17-8352-5616d00f28b0" providerId="ADAL" clId="{124F64FB-20B4-4557-867D-41849EBF929A}" dt="2020-07-29T08:42:25.278" v="1694"/>
          <ac:spMkLst>
            <pc:docMk/>
            <pc:sldMk cId="3943475883" sldId="405"/>
            <ac:spMk id="54" creationId="{6AE0A5E4-BC1A-4BBD-A782-35EB222094EA}"/>
          </ac:spMkLst>
        </pc:spChg>
        <pc:spChg chg="add del mod">
          <ac:chgData name="Pandey, Ritvik" userId="aa3a3568-d05e-4c17-8352-5616d00f28b0" providerId="ADAL" clId="{124F64FB-20B4-4557-867D-41849EBF929A}" dt="2020-07-29T08:42:25.278" v="1694"/>
          <ac:spMkLst>
            <pc:docMk/>
            <pc:sldMk cId="3943475883" sldId="405"/>
            <ac:spMk id="55" creationId="{686E17FC-E3EE-4C5B-BC2B-5493D92FD4CC}"/>
          </ac:spMkLst>
        </pc:spChg>
        <pc:spChg chg="add del mod">
          <ac:chgData name="Pandey, Ritvik" userId="aa3a3568-d05e-4c17-8352-5616d00f28b0" providerId="ADAL" clId="{124F64FB-20B4-4557-867D-41849EBF929A}" dt="2020-07-29T08:42:25.278" v="1694"/>
          <ac:spMkLst>
            <pc:docMk/>
            <pc:sldMk cId="3943475883" sldId="405"/>
            <ac:spMk id="61" creationId="{A1ED4AAC-FB2A-47EB-8F78-B002D2C5A847}"/>
          </ac:spMkLst>
        </pc:spChg>
        <pc:spChg chg="add del mod">
          <ac:chgData name="Pandey, Ritvik" userId="aa3a3568-d05e-4c17-8352-5616d00f28b0" providerId="ADAL" clId="{124F64FB-20B4-4557-867D-41849EBF929A}" dt="2020-07-29T08:42:25.278" v="1694"/>
          <ac:spMkLst>
            <pc:docMk/>
            <pc:sldMk cId="3943475883" sldId="405"/>
            <ac:spMk id="64" creationId="{BF06F0A4-D9B7-4292-8EB5-5B3E921B3C98}"/>
          </ac:spMkLst>
        </pc:spChg>
        <pc:spChg chg="mod">
          <ac:chgData name="Pandey, Ritvik" userId="aa3a3568-d05e-4c17-8352-5616d00f28b0" providerId="ADAL" clId="{124F64FB-20B4-4557-867D-41849EBF929A}" dt="2020-07-29T08:52:16.210" v="1825" actId="1076"/>
          <ac:spMkLst>
            <pc:docMk/>
            <pc:sldMk cId="3943475883" sldId="405"/>
            <ac:spMk id="66" creationId="{CF5AEB1D-63EB-453E-97FC-1E156B0CF61E}"/>
          </ac:spMkLst>
        </pc:spChg>
        <pc:spChg chg="mod">
          <ac:chgData name="Pandey, Ritvik" userId="aa3a3568-d05e-4c17-8352-5616d00f28b0" providerId="ADAL" clId="{124F64FB-20B4-4557-867D-41849EBF929A}" dt="2020-07-29T08:44:39.836" v="1711" actId="255"/>
          <ac:spMkLst>
            <pc:docMk/>
            <pc:sldMk cId="3943475883" sldId="405"/>
            <ac:spMk id="67" creationId="{95D5C19A-8E70-4874-9A58-1BBD41378C74}"/>
          </ac:spMkLst>
        </pc:spChg>
        <pc:spChg chg="mod">
          <ac:chgData name="Pandey, Ritvik" userId="aa3a3568-d05e-4c17-8352-5616d00f28b0" providerId="ADAL" clId="{124F64FB-20B4-4557-867D-41849EBF929A}" dt="2020-07-29T08:44:39.836" v="1711" actId="255"/>
          <ac:spMkLst>
            <pc:docMk/>
            <pc:sldMk cId="3943475883" sldId="405"/>
            <ac:spMk id="68" creationId="{0A846285-EE9C-4065-A2FD-91E9D341E3F7}"/>
          </ac:spMkLst>
        </pc:spChg>
        <pc:spChg chg="mod">
          <ac:chgData name="Pandey, Ritvik" userId="aa3a3568-d05e-4c17-8352-5616d00f28b0" providerId="ADAL" clId="{124F64FB-20B4-4557-867D-41849EBF929A}" dt="2020-07-29T19:47:25.557" v="2177" actId="20577"/>
          <ac:spMkLst>
            <pc:docMk/>
            <pc:sldMk cId="3943475883" sldId="405"/>
            <ac:spMk id="69" creationId="{774C9559-900D-4DE7-9969-0C8EB414FCD9}"/>
          </ac:spMkLst>
        </pc:spChg>
        <pc:spChg chg="mod">
          <ac:chgData name="Pandey, Ritvik" userId="aa3a3568-d05e-4c17-8352-5616d00f28b0" providerId="ADAL" clId="{124F64FB-20B4-4557-867D-41849EBF929A}" dt="2020-07-29T08:44:39.836" v="1711" actId="255"/>
          <ac:spMkLst>
            <pc:docMk/>
            <pc:sldMk cId="3943475883" sldId="405"/>
            <ac:spMk id="70" creationId="{B7FDA179-7AE7-43C8-85EC-7C56AEBB3AB4}"/>
          </ac:spMkLst>
        </pc:spChg>
        <pc:spChg chg="mod">
          <ac:chgData name="Pandey, Ritvik" userId="aa3a3568-d05e-4c17-8352-5616d00f28b0" providerId="ADAL" clId="{124F64FB-20B4-4557-867D-41849EBF929A}" dt="2020-07-29T08:44:39.836" v="1711" actId="255"/>
          <ac:spMkLst>
            <pc:docMk/>
            <pc:sldMk cId="3943475883" sldId="405"/>
            <ac:spMk id="71" creationId="{DACCB9F4-A99F-4809-860B-F80820FDF111}"/>
          </ac:spMkLst>
        </pc:spChg>
        <pc:spChg chg="mod">
          <ac:chgData name="Pandey, Ritvik" userId="aa3a3568-d05e-4c17-8352-5616d00f28b0" providerId="ADAL" clId="{124F64FB-20B4-4557-867D-41849EBF929A}" dt="2020-07-29T08:44:39.836" v="1711" actId="255"/>
          <ac:spMkLst>
            <pc:docMk/>
            <pc:sldMk cId="3943475883" sldId="405"/>
            <ac:spMk id="77" creationId="{5ADBFE4E-11CA-4AA4-8B6E-8C3D14B0AA0B}"/>
          </ac:spMkLst>
        </pc:spChg>
        <pc:spChg chg="mod">
          <ac:chgData name="Pandey, Ritvik" userId="aa3a3568-d05e-4c17-8352-5616d00f28b0" providerId="ADAL" clId="{124F64FB-20B4-4557-867D-41849EBF929A}" dt="2020-07-29T08:44:39.836" v="1711" actId="255"/>
          <ac:spMkLst>
            <pc:docMk/>
            <pc:sldMk cId="3943475883" sldId="405"/>
            <ac:spMk id="80" creationId="{B7E22E32-77AC-4546-86FA-B9220F9D8618}"/>
          </ac:spMkLst>
        </pc:spChg>
        <pc:spChg chg="add mod">
          <ac:chgData name="Pandey, Ritvik" userId="aa3a3568-d05e-4c17-8352-5616d00f28b0" providerId="ADAL" clId="{124F64FB-20B4-4557-867D-41849EBF929A}" dt="2020-07-29T08:52:43.344" v="1842" actId="14100"/>
          <ac:spMkLst>
            <pc:docMk/>
            <pc:sldMk cId="3943475883" sldId="405"/>
            <ac:spMk id="106" creationId="{E4BA05A6-EC13-43BB-8573-B2D7AD5CB584}"/>
          </ac:spMkLst>
        </pc:spChg>
        <pc:grpChg chg="add mod">
          <ac:chgData name="Pandey, Ritvik" userId="aa3a3568-d05e-4c17-8352-5616d00f28b0" providerId="ADAL" clId="{124F64FB-20B4-4557-867D-41849EBF929A}" dt="2020-07-29T08:52:22.826" v="1838" actId="1037"/>
          <ac:grpSpMkLst>
            <pc:docMk/>
            <pc:sldMk cId="3943475883" sldId="405"/>
            <ac:grpSpMk id="65" creationId="{9A04A6C2-683F-4081-A7C3-FC91C90D2239}"/>
          </ac:grpSpMkLst>
        </pc:grpChg>
        <pc:picChg chg="add mod modCrop">
          <ac:chgData name="Pandey, Ritvik" userId="aa3a3568-d05e-4c17-8352-5616d00f28b0" providerId="ADAL" clId="{124F64FB-20B4-4557-867D-41849EBF929A}" dt="2020-07-29T08:46:22.727" v="1770" actId="1076"/>
          <ac:picMkLst>
            <pc:docMk/>
            <pc:sldMk cId="3943475883" sldId="405"/>
            <ac:picMk id="31" creationId="{C6011866-C6C5-4D11-B511-0222C42C1858}"/>
          </ac:picMkLst>
        </pc:picChg>
        <pc:picChg chg="add mod">
          <ac:chgData name="Pandey, Ritvik" userId="aa3a3568-d05e-4c17-8352-5616d00f28b0" providerId="ADAL" clId="{124F64FB-20B4-4557-867D-41849EBF929A}" dt="2020-07-29T08:51:10.413" v="1820" actId="1076"/>
          <ac:picMkLst>
            <pc:docMk/>
            <pc:sldMk cId="3943475883" sldId="405"/>
            <ac:picMk id="38" creationId="{6F69A9E9-65AE-41D3-9230-088CEDC5A21E}"/>
          </ac:picMkLst>
        </pc:picChg>
        <pc:picChg chg="add mod">
          <ac:chgData name="Pandey, Ritvik" userId="aa3a3568-d05e-4c17-8352-5616d00f28b0" providerId="ADAL" clId="{124F64FB-20B4-4557-867D-41849EBF929A}" dt="2020-07-29T08:35:03.781" v="1620" actId="1035"/>
          <ac:picMkLst>
            <pc:docMk/>
            <pc:sldMk cId="3943475883" sldId="405"/>
            <ac:picMk id="88066" creationId="{516497AE-1961-48C5-924D-8178364218E9}"/>
          </ac:picMkLst>
        </pc:picChg>
        <pc:cxnChg chg="add mod">
          <ac:chgData name="Pandey, Ritvik" userId="aa3a3568-d05e-4c17-8352-5616d00f28b0" providerId="ADAL" clId="{124F64FB-20B4-4557-867D-41849EBF929A}" dt="2020-07-29T08:48:27.523" v="1786" actId="14100"/>
          <ac:cxnSpMkLst>
            <pc:docMk/>
            <pc:sldMk cId="3943475883" sldId="405"/>
            <ac:cxnSpMk id="7" creationId="{39CD083D-4E17-411C-9C21-A68E4400963C}"/>
          </ac:cxnSpMkLst>
        </pc:cxnChg>
        <pc:cxnChg chg="add mod">
          <ac:chgData name="Pandey, Ritvik" userId="aa3a3568-d05e-4c17-8352-5616d00f28b0" providerId="ADAL" clId="{124F64FB-20B4-4557-867D-41849EBF929A}" dt="2020-07-29T08:46:55.260" v="1776" actId="14100"/>
          <ac:cxnSpMkLst>
            <pc:docMk/>
            <pc:sldMk cId="3943475883" sldId="405"/>
            <ac:cxnSpMk id="10" creationId="{DD7D664F-9ADC-4109-AC46-1972D5B7BDB6}"/>
          </ac:cxnSpMkLst>
        </pc:cxnChg>
        <pc:cxnChg chg="del mod">
          <ac:chgData name="Pandey, Ritvik" userId="aa3a3568-d05e-4c17-8352-5616d00f28b0" providerId="ADAL" clId="{124F64FB-20B4-4557-867D-41849EBF929A}" dt="2020-07-29T08:18:45.738" v="1209" actId="478"/>
          <ac:cxnSpMkLst>
            <pc:docMk/>
            <pc:sldMk cId="3943475883" sldId="405"/>
            <ac:cxnSpMk id="12" creationId="{AC60E58C-DAE5-4892-8A6E-C9F62C5858A9}"/>
          </ac:cxnSpMkLst>
        </pc:cxnChg>
        <pc:cxnChg chg="del mod">
          <ac:chgData name="Pandey, Ritvik" userId="aa3a3568-d05e-4c17-8352-5616d00f28b0" providerId="ADAL" clId="{124F64FB-20B4-4557-867D-41849EBF929A}" dt="2020-07-29T08:18:45.738" v="1209" actId="478"/>
          <ac:cxnSpMkLst>
            <pc:docMk/>
            <pc:sldMk cId="3943475883" sldId="405"/>
            <ac:cxnSpMk id="20" creationId="{B46CC674-D954-44FF-B397-5B9342DCE896}"/>
          </ac:cxnSpMkLst>
        </pc:cxnChg>
        <pc:cxnChg chg="add mod">
          <ac:chgData name="Pandey, Ritvik" userId="aa3a3568-d05e-4c17-8352-5616d00f28b0" providerId="ADAL" clId="{124F64FB-20B4-4557-867D-41849EBF929A}" dt="2020-07-29T08:47:15.306" v="1778" actId="14100"/>
          <ac:cxnSpMkLst>
            <pc:docMk/>
            <pc:sldMk cId="3943475883" sldId="405"/>
            <ac:cxnSpMk id="22" creationId="{14B63C29-1F60-4CF5-9D98-C52670C38872}"/>
          </ac:cxnSpMkLst>
        </pc:cxnChg>
        <pc:cxnChg chg="del mod">
          <ac:chgData name="Pandey, Ritvik" userId="aa3a3568-d05e-4c17-8352-5616d00f28b0" providerId="ADAL" clId="{124F64FB-20B4-4557-867D-41849EBF929A}" dt="2020-07-29T08:18:45.738" v="1209" actId="478"/>
          <ac:cxnSpMkLst>
            <pc:docMk/>
            <pc:sldMk cId="3943475883" sldId="405"/>
            <ac:cxnSpMk id="23" creationId="{C0ADE840-FB89-4EBC-A9F0-7FD023CFCAB1}"/>
          </ac:cxnSpMkLst>
        </pc:cxnChg>
        <pc:cxnChg chg="del mod">
          <ac:chgData name="Pandey, Ritvik" userId="aa3a3568-d05e-4c17-8352-5616d00f28b0" providerId="ADAL" clId="{124F64FB-20B4-4557-867D-41849EBF929A}" dt="2020-07-29T08:18:45.738" v="1209" actId="478"/>
          <ac:cxnSpMkLst>
            <pc:docMk/>
            <pc:sldMk cId="3943475883" sldId="405"/>
            <ac:cxnSpMk id="26" creationId="{4F7DC622-3520-4A98-BC49-032AAC8A8662}"/>
          </ac:cxnSpMkLst>
        </pc:cxnChg>
        <pc:cxnChg chg="del mod">
          <ac:chgData name="Pandey, Ritvik" userId="aa3a3568-d05e-4c17-8352-5616d00f28b0" providerId="ADAL" clId="{124F64FB-20B4-4557-867D-41849EBF929A}" dt="2020-07-29T08:18:45.738" v="1209" actId="478"/>
          <ac:cxnSpMkLst>
            <pc:docMk/>
            <pc:sldMk cId="3943475883" sldId="405"/>
            <ac:cxnSpMk id="29" creationId="{18748A17-2B36-4CCC-85E4-6A9D108C0BD7}"/>
          </ac:cxnSpMkLst>
        </pc:cxnChg>
        <pc:cxnChg chg="del mod">
          <ac:chgData name="Pandey, Ritvik" userId="aa3a3568-d05e-4c17-8352-5616d00f28b0" providerId="ADAL" clId="{124F64FB-20B4-4557-867D-41849EBF929A}" dt="2020-07-29T08:18:45.738" v="1209" actId="478"/>
          <ac:cxnSpMkLst>
            <pc:docMk/>
            <pc:sldMk cId="3943475883" sldId="405"/>
            <ac:cxnSpMk id="35" creationId="{2D2CBA26-8464-493D-B9FA-048A767EFDB4}"/>
          </ac:cxnSpMkLst>
        </pc:cxnChg>
        <pc:cxnChg chg="del mod">
          <ac:chgData name="Pandey, Ritvik" userId="aa3a3568-d05e-4c17-8352-5616d00f28b0" providerId="ADAL" clId="{124F64FB-20B4-4557-867D-41849EBF929A}" dt="2020-07-29T08:18:45.738" v="1209" actId="478"/>
          <ac:cxnSpMkLst>
            <pc:docMk/>
            <pc:sldMk cId="3943475883" sldId="405"/>
            <ac:cxnSpMk id="37" creationId="{AADAE293-0804-47B1-970A-D9F192692522}"/>
          </ac:cxnSpMkLst>
        </pc:cxnChg>
        <pc:cxnChg chg="add mod">
          <ac:chgData name="Pandey, Ritvik" userId="aa3a3568-d05e-4c17-8352-5616d00f28b0" providerId="ADAL" clId="{124F64FB-20B4-4557-867D-41849EBF929A}" dt="2020-07-30T04:18:27.184" v="2181" actId="14100"/>
          <ac:cxnSpMkLst>
            <pc:docMk/>
            <pc:sldMk cId="3943475883" sldId="405"/>
            <ac:cxnSpMk id="44" creationId="{0990CE2B-C3D6-4822-B56E-E9F5ED68DDB3}"/>
          </ac:cxnSpMkLst>
        </pc:cxnChg>
        <pc:cxnChg chg="add del mod">
          <ac:chgData name="Pandey, Ritvik" userId="aa3a3568-d05e-4c17-8352-5616d00f28b0" providerId="ADAL" clId="{124F64FB-20B4-4557-867D-41849EBF929A}" dt="2020-07-29T08:42:25.278" v="1694"/>
          <ac:cxnSpMkLst>
            <pc:docMk/>
            <pc:sldMk cId="3943475883" sldId="405"/>
            <ac:cxnSpMk id="56" creationId="{DEA91DED-AACD-431E-B0C9-E86A775B2CFC}"/>
          </ac:cxnSpMkLst>
        </pc:cxnChg>
        <pc:cxnChg chg="add del mod">
          <ac:chgData name="Pandey, Ritvik" userId="aa3a3568-d05e-4c17-8352-5616d00f28b0" providerId="ADAL" clId="{124F64FB-20B4-4557-867D-41849EBF929A}" dt="2020-07-29T08:42:25.278" v="1694"/>
          <ac:cxnSpMkLst>
            <pc:docMk/>
            <pc:sldMk cId="3943475883" sldId="405"/>
            <ac:cxnSpMk id="57" creationId="{68E6F99F-59C2-48CF-8822-1F8B98FF8B54}"/>
          </ac:cxnSpMkLst>
        </pc:cxnChg>
        <pc:cxnChg chg="add del mod">
          <ac:chgData name="Pandey, Ritvik" userId="aa3a3568-d05e-4c17-8352-5616d00f28b0" providerId="ADAL" clId="{124F64FB-20B4-4557-867D-41849EBF929A}" dt="2020-07-29T08:42:25.278" v="1694"/>
          <ac:cxnSpMkLst>
            <pc:docMk/>
            <pc:sldMk cId="3943475883" sldId="405"/>
            <ac:cxnSpMk id="58" creationId="{BCFFB91A-1493-4D10-80A4-501AC65ADE71}"/>
          </ac:cxnSpMkLst>
        </pc:cxnChg>
        <pc:cxnChg chg="add del mod">
          <ac:chgData name="Pandey, Ritvik" userId="aa3a3568-d05e-4c17-8352-5616d00f28b0" providerId="ADAL" clId="{124F64FB-20B4-4557-867D-41849EBF929A}" dt="2020-07-29T08:42:25.278" v="1694"/>
          <ac:cxnSpMkLst>
            <pc:docMk/>
            <pc:sldMk cId="3943475883" sldId="405"/>
            <ac:cxnSpMk id="59" creationId="{70FBA2D7-8318-416D-8897-1B85C063ADF9}"/>
          </ac:cxnSpMkLst>
        </pc:cxnChg>
        <pc:cxnChg chg="add del mod">
          <ac:chgData name="Pandey, Ritvik" userId="aa3a3568-d05e-4c17-8352-5616d00f28b0" providerId="ADAL" clId="{124F64FB-20B4-4557-867D-41849EBF929A}" dt="2020-07-29T08:42:25.278" v="1694"/>
          <ac:cxnSpMkLst>
            <pc:docMk/>
            <pc:sldMk cId="3943475883" sldId="405"/>
            <ac:cxnSpMk id="60" creationId="{3B3A4DC3-FDC8-493C-BE4A-205CA1F54950}"/>
          </ac:cxnSpMkLst>
        </pc:cxnChg>
        <pc:cxnChg chg="add del mod">
          <ac:chgData name="Pandey, Ritvik" userId="aa3a3568-d05e-4c17-8352-5616d00f28b0" providerId="ADAL" clId="{124F64FB-20B4-4557-867D-41849EBF929A}" dt="2020-07-29T08:42:25.278" v="1694"/>
          <ac:cxnSpMkLst>
            <pc:docMk/>
            <pc:sldMk cId="3943475883" sldId="405"/>
            <ac:cxnSpMk id="62" creationId="{0608FB2E-1BEC-4DF4-AD28-46214E1EFD88}"/>
          </ac:cxnSpMkLst>
        </pc:cxnChg>
        <pc:cxnChg chg="add del mod">
          <ac:chgData name="Pandey, Ritvik" userId="aa3a3568-d05e-4c17-8352-5616d00f28b0" providerId="ADAL" clId="{124F64FB-20B4-4557-867D-41849EBF929A}" dt="2020-07-29T08:42:25.278" v="1694"/>
          <ac:cxnSpMkLst>
            <pc:docMk/>
            <pc:sldMk cId="3943475883" sldId="405"/>
            <ac:cxnSpMk id="63" creationId="{0A3E1EE2-C787-4028-AB7F-434635EE27EC}"/>
          </ac:cxnSpMkLst>
        </pc:cxnChg>
        <pc:cxnChg chg="mod">
          <ac:chgData name="Pandey, Ritvik" userId="aa3a3568-d05e-4c17-8352-5616d00f28b0" providerId="ADAL" clId="{124F64FB-20B4-4557-867D-41849EBF929A}" dt="2020-07-29T08:52:16.210" v="1825" actId="1076"/>
          <ac:cxnSpMkLst>
            <pc:docMk/>
            <pc:sldMk cId="3943475883" sldId="405"/>
            <ac:cxnSpMk id="72" creationId="{95A65C41-61BD-4CD6-9FAF-EE50F3FE59BA}"/>
          </ac:cxnSpMkLst>
        </pc:cxnChg>
        <pc:cxnChg chg="mod">
          <ac:chgData name="Pandey, Ritvik" userId="aa3a3568-d05e-4c17-8352-5616d00f28b0" providerId="ADAL" clId="{124F64FB-20B4-4557-867D-41849EBF929A}" dt="2020-07-29T08:52:16.210" v="1825" actId="1076"/>
          <ac:cxnSpMkLst>
            <pc:docMk/>
            <pc:sldMk cId="3943475883" sldId="405"/>
            <ac:cxnSpMk id="78" creationId="{C104DB23-4D9C-49B0-A460-D24590171BC7}"/>
          </ac:cxnSpMkLst>
        </pc:cxnChg>
        <pc:cxnChg chg="mod">
          <ac:chgData name="Pandey, Ritvik" userId="aa3a3568-d05e-4c17-8352-5616d00f28b0" providerId="ADAL" clId="{124F64FB-20B4-4557-867D-41849EBF929A}" dt="2020-07-29T08:52:16.210" v="1825" actId="1076"/>
          <ac:cxnSpMkLst>
            <pc:docMk/>
            <pc:sldMk cId="3943475883" sldId="405"/>
            <ac:cxnSpMk id="79" creationId="{12193FC0-F364-4AB4-B0E6-47A9EE41FA19}"/>
          </ac:cxnSpMkLst>
        </pc:cxnChg>
        <pc:cxnChg chg="add mod">
          <ac:chgData name="Pandey, Ritvik" userId="aa3a3568-d05e-4c17-8352-5616d00f28b0" providerId="ADAL" clId="{124F64FB-20B4-4557-867D-41849EBF929A}" dt="2020-07-29T08:52:28.874" v="1840" actId="14100"/>
          <ac:cxnSpMkLst>
            <pc:docMk/>
            <pc:sldMk cId="3943475883" sldId="405"/>
            <ac:cxnSpMk id="103" creationId="{4A905337-C923-4456-B8C8-ED9C703DD327}"/>
          </ac:cxnSpMkLst>
        </pc:cxnChg>
      </pc:sldChg>
      <pc:sldChg chg="delSp modSp add">
        <pc:chgData name="Pandey, Ritvik" userId="aa3a3568-d05e-4c17-8352-5616d00f28b0" providerId="ADAL" clId="{124F64FB-20B4-4557-867D-41849EBF929A}" dt="2020-07-29T08:54:31.943" v="1864" actId="20577"/>
        <pc:sldMkLst>
          <pc:docMk/>
          <pc:sldMk cId="2686576231" sldId="406"/>
        </pc:sldMkLst>
        <pc:spChg chg="del">
          <ac:chgData name="Pandey, Ritvik" userId="aa3a3568-d05e-4c17-8352-5616d00f28b0" providerId="ADAL" clId="{124F64FB-20B4-4557-867D-41849EBF929A}" dt="2020-07-29T08:54:22.259" v="1845" actId="478"/>
          <ac:spMkLst>
            <pc:docMk/>
            <pc:sldMk cId="2686576231" sldId="406"/>
            <ac:spMk id="3" creationId="{6782DF40-27F1-416B-91CB-3E06EDB313D3}"/>
          </ac:spMkLst>
        </pc:spChg>
        <pc:spChg chg="mod">
          <ac:chgData name="Pandey, Ritvik" userId="aa3a3568-d05e-4c17-8352-5616d00f28b0" providerId="ADAL" clId="{124F64FB-20B4-4557-867D-41849EBF929A}" dt="2020-07-29T08:54:31.943" v="1864" actId="20577"/>
          <ac:spMkLst>
            <pc:docMk/>
            <pc:sldMk cId="2686576231" sldId="406"/>
            <ac:spMk id="11" creationId="{EFB91C17-6A17-47FF-974F-E0E5B04C8968}"/>
          </ac:spMkLst>
        </pc:spChg>
        <pc:spChg chg="del">
          <ac:chgData name="Pandey, Ritvik" userId="aa3a3568-d05e-4c17-8352-5616d00f28b0" providerId="ADAL" clId="{124F64FB-20B4-4557-867D-41849EBF929A}" dt="2020-07-29T08:54:22.259" v="1845" actId="478"/>
          <ac:spMkLst>
            <pc:docMk/>
            <pc:sldMk cId="2686576231" sldId="406"/>
            <ac:spMk id="14" creationId="{8669CBF8-D4B3-4274-AEDE-8FA1A43C2C12}"/>
          </ac:spMkLst>
        </pc:spChg>
        <pc:spChg chg="del">
          <ac:chgData name="Pandey, Ritvik" userId="aa3a3568-d05e-4c17-8352-5616d00f28b0" providerId="ADAL" clId="{124F64FB-20B4-4557-867D-41849EBF929A}" dt="2020-07-29T08:54:22.259" v="1845" actId="478"/>
          <ac:spMkLst>
            <pc:docMk/>
            <pc:sldMk cId="2686576231" sldId="406"/>
            <ac:spMk id="34" creationId="{237BA46F-5EE8-4265-A392-EDFE9D9F5748}"/>
          </ac:spMkLst>
        </pc:spChg>
        <pc:spChg chg="del">
          <ac:chgData name="Pandey, Ritvik" userId="aa3a3568-d05e-4c17-8352-5616d00f28b0" providerId="ADAL" clId="{124F64FB-20B4-4557-867D-41849EBF929A}" dt="2020-07-29T08:54:22.259" v="1845" actId="478"/>
          <ac:spMkLst>
            <pc:docMk/>
            <pc:sldMk cId="2686576231" sldId="406"/>
            <ac:spMk id="36" creationId="{0AE8422A-B8E9-4582-B032-143A0AFB2AB1}"/>
          </ac:spMkLst>
        </pc:spChg>
        <pc:spChg chg="del">
          <ac:chgData name="Pandey, Ritvik" userId="aa3a3568-d05e-4c17-8352-5616d00f28b0" providerId="ADAL" clId="{124F64FB-20B4-4557-867D-41849EBF929A}" dt="2020-07-29T08:54:22.259" v="1845" actId="478"/>
          <ac:spMkLst>
            <pc:docMk/>
            <pc:sldMk cId="2686576231" sldId="406"/>
            <ac:spMk id="39" creationId="{FABCBD75-85BA-4E07-ABB6-48B1B5005043}"/>
          </ac:spMkLst>
        </pc:spChg>
        <pc:spChg chg="del">
          <ac:chgData name="Pandey, Ritvik" userId="aa3a3568-d05e-4c17-8352-5616d00f28b0" providerId="ADAL" clId="{124F64FB-20B4-4557-867D-41849EBF929A}" dt="2020-07-29T08:54:22.259" v="1845" actId="478"/>
          <ac:spMkLst>
            <pc:docMk/>
            <pc:sldMk cId="2686576231" sldId="406"/>
            <ac:spMk id="40" creationId="{F1C31772-9FCA-4FBB-806B-E44F3AC0A2B7}"/>
          </ac:spMkLst>
        </pc:spChg>
        <pc:spChg chg="del">
          <ac:chgData name="Pandey, Ritvik" userId="aa3a3568-d05e-4c17-8352-5616d00f28b0" providerId="ADAL" clId="{124F64FB-20B4-4557-867D-41849EBF929A}" dt="2020-07-29T08:54:22.259" v="1845" actId="478"/>
          <ac:spMkLst>
            <pc:docMk/>
            <pc:sldMk cId="2686576231" sldId="406"/>
            <ac:spMk id="41" creationId="{73564714-E2AD-493D-9F03-DEA98AEDF9B3}"/>
          </ac:spMkLst>
        </pc:spChg>
        <pc:spChg chg="del">
          <ac:chgData name="Pandey, Ritvik" userId="aa3a3568-d05e-4c17-8352-5616d00f28b0" providerId="ADAL" clId="{124F64FB-20B4-4557-867D-41849EBF929A}" dt="2020-07-29T08:54:22.259" v="1845" actId="478"/>
          <ac:spMkLst>
            <pc:docMk/>
            <pc:sldMk cId="2686576231" sldId="406"/>
            <ac:spMk id="45" creationId="{66696244-30A2-4BE0-8827-5B11C052B199}"/>
          </ac:spMkLst>
        </pc:spChg>
        <pc:spChg chg="del">
          <ac:chgData name="Pandey, Ritvik" userId="aa3a3568-d05e-4c17-8352-5616d00f28b0" providerId="ADAL" clId="{124F64FB-20B4-4557-867D-41849EBF929A}" dt="2020-07-29T08:54:22.259" v="1845" actId="478"/>
          <ac:spMkLst>
            <pc:docMk/>
            <pc:sldMk cId="2686576231" sldId="406"/>
            <ac:spMk id="106" creationId="{E4BA05A6-EC13-43BB-8573-B2D7AD5CB584}"/>
          </ac:spMkLst>
        </pc:spChg>
        <pc:grpChg chg="del">
          <ac:chgData name="Pandey, Ritvik" userId="aa3a3568-d05e-4c17-8352-5616d00f28b0" providerId="ADAL" clId="{124F64FB-20B4-4557-867D-41849EBF929A}" dt="2020-07-29T08:54:22.259" v="1845" actId="478"/>
          <ac:grpSpMkLst>
            <pc:docMk/>
            <pc:sldMk cId="2686576231" sldId="406"/>
            <ac:grpSpMk id="65" creationId="{9A04A6C2-683F-4081-A7C3-FC91C90D2239}"/>
          </ac:grpSpMkLst>
        </pc:grpChg>
        <pc:picChg chg="del">
          <ac:chgData name="Pandey, Ritvik" userId="aa3a3568-d05e-4c17-8352-5616d00f28b0" providerId="ADAL" clId="{124F64FB-20B4-4557-867D-41849EBF929A}" dt="2020-07-29T08:54:22.259" v="1845" actId="478"/>
          <ac:picMkLst>
            <pc:docMk/>
            <pc:sldMk cId="2686576231" sldId="406"/>
            <ac:picMk id="31" creationId="{C6011866-C6C5-4D11-B511-0222C42C1858}"/>
          </ac:picMkLst>
        </pc:picChg>
        <pc:picChg chg="del">
          <ac:chgData name="Pandey, Ritvik" userId="aa3a3568-d05e-4c17-8352-5616d00f28b0" providerId="ADAL" clId="{124F64FB-20B4-4557-867D-41849EBF929A}" dt="2020-07-29T08:54:22.259" v="1845" actId="478"/>
          <ac:picMkLst>
            <pc:docMk/>
            <pc:sldMk cId="2686576231" sldId="406"/>
            <ac:picMk id="38" creationId="{6F69A9E9-65AE-41D3-9230-088CEDC5A21E}"/>
          </ac:picMkLst>
        </pc:picChg>
        <pc:picChg chg="del">
          <ac:chgData name="Pandey, Ritvik" userId="aa3a3568-d05e-4c17-8352-5616d00f28b0" providerId="ADAL" clId="{124F64FB-20B4-4557-867D-41849EBF929A}" dt="2020-07-29T08:54:22.259" v="1845" actId="478"/>
          <ac:picMkLst>
            <pc:docMk/>
            <pc:sldMk cId="2686576231" sldId="406"/>
            <ac:picMk id="88066" creationId="{516497AE-1961-48C5-924D-8178364218E9}"/>
          </ac:picMkLst>
        </pc:picChg>
        <pc:cxnChg chg="del">
          <ac:chgData name="Pandey, Ritvik" userId="aa3a3568-d05e-4c17-8352-5616d00f28b0" providerId="ADAL" clId="{124F64FB-20B4-4557-867D-41849EBF929A}" dt="2020-07-29T08:54:22.259" v="1845" actId="478"/>
          <ac:cxnSpMkLst>
            <pc:docMk/>
            <pc:sldMk cId="2686576231" sldId="406"/>
            <ac:cxnSpMk id="7" creationId="{39CD083D-4E17-411C-9C21-A68E4400963C}"/>
          </ac:cxnSpMkLst>
        </pc:cxnChg>
        <pc:cxnChg chg="del">
          <ac:chgData name="Pandey, Ritvik" userId="aa3a3568-d05e-4c17-8352-5616d00f28b0" providerId="ADAL" clId="{124F64FB-20B4-4557-867D-41849EBF929A}" dt="2020-07-29T08:54:22.259" v="1845" actId="478"/>
          <ac:cxnSpMkLst>
            <pc:docMk/>
            <pc:sldMk cId="2686576231" sldId="406"/>
            <ac:cxnSpMk id="10" creationId="{DD7D664F-9ADC-4109-AC46-1972D5B7BDB6}"/>
          </ac:cxnSpMkLst>
        </pc:cxnChg>
        <pc:cxnChg chg="del">
          <ac:chgData name="Pandey, Ritvik" userId="aa3a3568-d05e-4c17-8352-5616d00f28b0" providerId="ADAL" clId="{124F64FB-20B4-4557-867D-41849EBF929A}" dt="2020-07-29T08:54:22.259" v="1845" actId="478"/>
          <ac:cxnSpMkLst>
            <pc:docMk/>
            <pc:sldMk cId="2686576231" sldId="406"/>
            <ac:cxnSpMk id="22" creationId="{14B63C29-1F60-4CF5-9D98-C52670C38872}"/>
          </ac:cxnSpMkLst>
        </pc:cxnChg>
        <pc:cxnChg chg="del">
          <ac:chgData name="Pandey, Ritvik" userId="aa3a3568-d05e-4c17-8352-5616d00f28b0" providerId="ADAL" clId="{124F64FB-20B4-4557-867D-41849EBF929A}" dt="2020-07-29T08:54:22.259" v="1845" actId="478"/>
          <ac:cxnSpMkLst>
            <pc:docMk/>
            <pc:sldMk cId="2686576231" sldId="406"/>
            <ac:cxnSpMk id="44" creationId="{0990CE2B-C3D6-4822-B56E-E9F5ED68DDB3}"/>
          </ac:cxnSpMkLst>
        </pc:cxnChg>
        <pc:cxnChg chg="del">
          <ac:chgData name="Pandey, Ritvik" userId="aa3a3568-d05e-4c17-8352-5616d00f28b0" providerId="ADAL" clId="{124F64FB-20B4-4557-867D-41849EBF929A}" dt="2020-07-29T08:54:22.259" v="1845" actId="478"/>
          <ac:cxnSpMkLst>
            <pc:docMk/>
            <pc:sldMk cId="2686576231" sldId="406"/>
            <ac:cxnSpMk id="103" creationId="{4A905337-C923-4456-B8C8-ED9C703DD327}"/>
          </ac:cxnSpMkLst>
        </pc:cxnChg>
      </pc:sldChg>
      <pc:sldChg chg="add del">
        <pc:chgData name="Pandey, Ritvik" userId="aa3a3568-d05e-4c17-8352-5616d00f28b0" providerId="ADAL" clId="{124F64FB-20B4-4557-867D-41849EBF929A}" dt="2020-07-29T08:49:24.817" v="1788" actId="2696"/>
        <pc:sldMkLst>
          <pc:docMk/>
          <pc:sldMk cId="2906464309" sldId="406"/>
        </pc:sldMkLst>
      </pc:sldChg>
      <pc:sldChg chg="addSp delSp modSp add">
        <pc:chgData name="Pandey, Ritvik" userId="aa3a3568-d05e-4c17-8352-5616d00f28b0" providerId="ADAL" clId="{124F64FB-20B4-4557-867D-41849EBF929A}" dt="2020-07-29T10:36:47.769" v="2003" actId="20577"/>
        <pc:sldMkLst>
          <pc:docMk/>
          <pc:sldMk cId="1497260648" sldId="407"/>
        </pc:sldMkLst>
        <pc:spChg chg="mod ord">
          <ac:chgData name="Pandey, Ritvik" userId="aa3a3568-d05e-4c17-8352-5616d00f28b0" providerId="ADAL" clId="{124F64FB-20B4-4557-867D-41849EBF929A}" dt="2020-07-29T10:36:47.769" v="2003" actId="20577"/>
          <ac:spMkLst>
            <pc:docMk/>
            <pc:sldMk cId="1497260648" sldId="407"/>
            <ac:spMk id="11" creationId="{EFB91C17-6A17-47FF-974F-E0E5B04C8968}"/>
          </ac:spMkLst>
        </pc:spChg>
        <pc:picChg chg="add mod ord modCrop">
          <ac:chgData name="Pandey, Ritvik" userId="aa3a3568-d05e-4c17-8352-5616d00f28b0" providerId="ADAL" clId="{124F64FB-20B4-4557-867D-41849EBF929A}" dt="2020-07-29T10:35:18.995" v="1985" actId="1076"/>
          <ac:picMkLst>
            <pc:docMk/>
            <pc:sldMk cId="1497260648" sldId="407"/>
            <ac:picMk id="3" creationId="{A0F3D8D7-588B-4AC9-9F1C-81D705833914}"/>
          </ac:picMkLst>
        </pc:picChg>
        <pc:picChg chg="add mod modCrop">
          <ac:chgData name="Pandey, Ritvik" userId="aa3a3568-d05e-4c17-8352-5616d00f28b0" providerId="ADAL" clId="{124F64FB-20B4-4557-867D-41849EBF929A}" dt="2020-07-29T10:34:50.177" v="1978" actId="1076"/>
          <ac:picMkLst>
            <pc:docMk/>
            <pc:sldMk cId="1497260648" sldId="407"/>
            <ac:picMk id="7" creationId="{3998F926-769B-4C5B-A98F-5A8231428B52}"/>
          </ac:picMkLst>
        </pc:picChg>
        <pc:picChg chg="add mod modCrop">
          <ac:chgData name="Pandey, Ritvik" userId="aa3a3568-d05e-4c17-8352-5616d00f28b0" providerId="ADAL" clId="{124F64FB-20B4-4557-867D-41849EBF929A}" dt="2020-07-29T10:35:27.071" v="1986" actId="1076"/>
          <ac:picMkLst>
            <pc:docMk/>
            <pc:sldMk cId="1497260648" sldId="407"/>
            <ac:picMk id="9" creationId="{A4ED789D-21A2-4CFD-8008-B9978761D1CB}"/>
          </ac:picMkLst>
        </pc:picChg>
        <pc:picChg chg="add mod modCrop">
          <ac:chgData name="Pandey, Ritvik" userId="aa3a3568-d05e-4c17-8352-5616d00f28b0" providerId="ADAL" clId="{124F64FB-20B4-4557-867D-41849EBF929A}" dt="2020-07-29T10:35:41.046" v="1988" actId="1076"/>
          <ac:picMkLst>
            <pc:docMk/>
            <pc:sldMk cId="1497260648" sldId="407"/>
            <ac:picMk id="12" creationId="{1EBD4C0A-B8D3-4C62-AA60-63052ADE10F4}"/>
          </ac:picMkLst>
        </pc:picChg>
        <pc:picChg chg="add mod modCrop">
          <ac:chgData name="Pandey, Ritvik" userId="aa3a3568-d05e-4c17-8352-5616d00f28b0" providerId="ADAL" clId="{124F64FB-20B4-4557-867D-41849EBF929A}" dt="2020-07-29T10:35:18.995" v="1985" actId="1076"/>
          <ac:picMkLst>
            <pc:docMk/>
            <pc:sldMk cId="1497260648" sldId="407"/>
            <ac:picMk id="13" creationId="{A228AEB9-C72E-46AC-8B85-0CF0E8F86628}"/>
          </ac:picMkLst>
        </pc:picChg>
        <pc:picChg chg="add mod">
          <ac:chgData name="Pandey, Ritvik" userId="aa3a3568-d05e-4c17-8352-5616d00f28b0" providerId="ADAL" clId="{124F64FB-20B4-4557-867D-41849EBF929A}" dt="2020-07-29T10:35:08.118" v="1983" actId="571"/>
          <ac:picMkLst>
            <pc:docMk/>
            <pc:sldMk cId="1497260648" sldId="407"/>
            <ac:picMk id="14" creationId="{F55479E5-725A-4E84-B2A7-CF64AAC16757}"/>
          </ac:picMkLst>
        </pc:picChg>
        <pc:picChg chg="add mod">
          <ac:chgData name="Pandey, Ritvik" userId="aa3a3568-d05e-4c17-8352-5616d00f28b0" providerId="ADAL" clId="{124F64FB-20B4-4557-867D-41849EBF929A}" dt="2020-07-29T10:35:08.118" v="1983" actId="571"/>
          <ac:picMkLst>
            <pc:docMk/>
            <pc:sldMk cId="1497260648" sldId="407"/>
            <ac:picMk id="15" creationId="{085889DD-B953-4180-94F5-0EC53D3292AF}"/>
          </ac:picMkLst>
        </pc:picChg>
        <pc:picChg chg="add mod">
          <ac:chgData name="Pandey, Ritvik" userId="aa3a3568-d05e-4c17-8352-5616d00f28b0" providerId="ADAL" clId="{124F64FB-20B4-4557-867D-41849EBF929A}" dt="2020-07-29T10:35:08.118" v="1983" actId="571"/>
          <ac:picMkLst>
            <pc:docMk/>
            <pc:sldMk cId="1497260648" sldId="407"/>
            <ac:picMk id="16" creationId="{D9F06B21-ADA5-4751-ABDE-E95186D8F688}"/>
          </ac:picMkLst>
        </pc:picChg>
        <pc:picChg chg="add mod">
          <ac:chgData name="Pandey, Ritvik" userId="aa3a3568-d05e-4c17-8352-5616d00f28b0" providerId="ADAL" clId="{124F64FB-20B4-4557-867D-41849EBF929A}" dt="2020-07-29T10:35:08.118" v="1983" actId="571"/>
          <ac:picMkLst>
            <pc:docMk/>
            <pc:sldMk cId="1497260648" sldId="407"/>
            <ac:picMk id="17" creationId="{5570771E-2E53-48F5-8177-DD1863FE72F8}"/>
          </ac:picMkLst>
        </pc:picChg>
        <pc:picChg chg="add del">
          <ac:chgData name="Pandey, Ritvik" userId="aa3a3568-d05e-4c17-8352-5616d00f28b0" providerId="ADAL" clId="{124F64FB-20B4-4557-867D-41849EBF929A}" dt="2020-07-29T10:36:20.899" v="1990"/>
          <ac:picMkLst>
            <pc:docMk/>
            <pc:sldMk cId="1497260648" sldId="407"/>
            <ac:picMk id="18" creationId="{4B9A61D7-16AF-4EDA-932F-D08817FF2470}"/>
          </ac:picMkLst>
        </pc:picChg>
      </pc:sldChg>
      <pc:sldChg chg="addSp delSp modSp add">
        <pc:chgData name="Pandey, Ritvik" userId="aa3a3568-d05e-4c17-8352-5616d00f28b0" providerId="ADAL" clId="{124F64FB-20B4-4557-867D-41849EBF929A}" dt="2020-07-29T16:53:47.504" v="2175" actId="1076"/>
        <pc:sldMkLst>
          <pc:docMk/>
          <pc:sldMk cId="1725906683" sldId="408"/>
        </pc:sldMkLst>
        <pc:spChg chg="add mod">
          <ac:chgData name="Pandey, Ritvik" userId="aa3a3568-d05e-4c17-8352-5616d00f28b0" providerId="ADAL" clId="{124F64FB-20B4-4557-867D-41849EBF929A}" dt="2020-07-29T16:53:13.605" v="2150" actId="20577"/>
          <ac:spMkLst>
            <pc:docMk/>
            <pc:sldMk cId="1725906683" sldId="408"/>
            <ac:spMk id="10" creationId="{64412E56-A30A-468B-A03D-D3E234668E33}"/>
          </ac:spMkLst>
        </pc:spChg>
        <pc:spChg chg="mod">
          <ac:chgData name="Pandey, Ritvik" userId="aa3a3568-d05e-4c17-8352-5616d00f28b0" providerId="ADAL" clId="{124F64FB-20B4-4557-867D-41849EBF929A}" dt="2020-07-29T10:36:58.838" v="2020" actId="20577"/>
          <ac:spMkLst>
            <pc:docMk/>
            <pc:sldMk cId="1725906683" sldId="408"/>
            <ac:spMk id="11" creationId="{EFB91C17-6A17-47FF-974F-E0E5B04C8968}"/>
          </ac:spMkLst>
        </pc:spChg>
        <pc:spChg chg="add mod">
          <ac:chgData name="Pandey, Ritvik" userId="aa3a3568-d05e-4c17-8352-5616d00f28b0" providerId="ADAL" clId="{124F64FB-20B4-4557-867D-41849EBF929A}" dt="2020-07-29T16:53:47.504" v="2175" actId="1076"/>
          <ac:spMkLst>
            <pc:docMk/>
            <pc:sldMk cId="1725906683" sldId="408"/>
            <ac:spMk id="14" creationId="{F33F9F97-DE4C-49A3-B6DE-0423B32BDC59}"/>
          </ac:spMkLst>
        </pc:spChg>
        <pc:picChg chg="del">
          <ac:chgData name="Pandey, Ritvik" userId="aa3a3568-d05e-4c17-8352-5616d00f28b0" providerId="ADAL" clId="{124F64FB-20B4-4557-867D-41849EBF929A}" dt="2020-07-29T16:46:33.488" v="2103" actId="478"/>
          <ac:picMkLst>
            <pc:docMk/>
            <pc:sldMk cId="1725906683" sldId="408"/>
            <ac:picMk id="3" creationId="{A0F3D8D7-588B-4AC9-9F1C-81D705833914}"/>
          </ac:picMkLst>
        </pc:picChg>
        <pc:picChg chg="add mod modCrop">
          <ac:chgData name="Pandey, Ritvik" userId="aa3a3568-d05e-4c17-8352-5616d00f28b0" providerId="ADAL" clId="{124F64FB-20B4-4557-867D-41849EBF929A}" dt="2020-07-29T16:47:32.541" v="2113" actId="14100"/>
          <ac:picMkLst>
            <pc:docMk/>
            <pc:sldMk cId="1725906683" sldId="408"/>
            <ac:picMk id="6" creationId="{D02ECC58-F968-421D-B26D-ED92C46CE858}"/>
          </ac:picMkLst>
        </pc:picChg>
        <pc:picChg chg="add mod">
          <ac:chgData name="Pandey, Ritvik" userId="aa3a3568-d05e-4c17-8352-5616d00f28b0" providerId="ADAL" clId="{124F64FB-20B4-4557-867D-41849EBF929A}" dt="2020-07-29T16:47:38.474" v="2114" actId="1076"/>
          <ac:picMkLst>
            <pc:docMk/>
            <pc:sldMk cId="1725906683" sldId="408"/>
            <ac:picMk id="8" creationId="{C468B586-1CDA-421C-A1B8-615E64B20834}"/>
          </ac:picMkLst>
        </pc:picChg>
        <pc:picChg chg="del">
          <ac:chgData name="Pandey, Ritvik" userId="aa3a3568-d05e-4c17-8352-5616d00f28b0" providerId="ADAL" clId="{124F64FB-20B4-4557-867D-41849EBF929A}" dt="2020-07-29T16:46:37.036" v="2104" actId="478"/>
          <ac:picMkLst>
            <pc:docMk/>
            <pc:sldMk cId="1725906683" sldId="408"/>
            <ac:picMk id="9" creationId="{A4ED789D-21A2-4CFD-8008-B9978761D1CB}"/>
          </ac:picMkLst>
        </pc:picChg>
        <pc:picChg chg="del">
          <ac:chgData name="Pandey, Ritvik" userId="aa3a3568-d05e-4c17-8352-5616d00f28b0" providerId="ADAL" clId="{124F64FB-20B4-4557-867D-41849EBF929A}" dt="2020-07-29T16:46:37.036" v="2104" actId="478"/>
          <ac:picMkLst>
            <pc:docMk/>
            <pc:sldMk cId="1725906683" sldId="408"/>
            <ac:picMk id="12" creationId="{1EBD4C0A-B8D3-4C62-AA60-63052ADE10F4}"/>
          </ac:picMkLst>
        </pc:picChg>
        <pc:picChg chg="del">
          <ac:chgData name="Pandey, Ritvik" userId="aa3a3568-d05e-4c17-8352-5616d00f28b0" providerId="ADAL" clId="{124F64FB-20B4-4557-867D-41849EBF929A}" dt="2020-07-29T16:46:37.036" v="2104" actId="478"/>
          <ac:picMkLst>
            <pc:docMk/>
            <pc:sldMk cId="1725906683" sldId="408"/>
            <ac:picMk id="13" creationId="{A228AEB9-C72E-46AC-8B85-0CF0E8F86628}"/>
          </ac:picMkLst>
        </pc:picChg>
      </pc:sldChg>
      <pc:sldChg chg="add">
        <pc:chgData name="Pandey, Ritvik" userId="aa3a3568-d05e-4c17-8352-5616d00f28b0" providerId="ADAL" clId="{124F64FB-20B4-4557-867D-41849EBF929A}" dt="2020-07-29T13:53:30.609" v="2089"/>
        <pc:sldMkLst>
          <pc:docMk/>
          <pc:sldMk cId="90009831" sldId="410"/>
        </pc:sldMkLst>
      </pc:sldChg>
      <pc:sldChg chg="add">
        <pc:chgData name="Pandey, Ritvik" userId="aa3a3568-d05e-4c17-8352-5616d00f28b0" providerId="ADAL" clId="{124F64FB-20B4-4557-867D-41849EBF929A}" dt="2020-07-29T13:53:30.609" v="2089"/>
        <pc:sldMkLst>
          <pc:docMk/>
          <pc:sldMk cId="2751730576" sldId="411"/>
        </pc:sldMkLst>
      </pc:sldChg>
      <pc:sldChg chg="add">
        <pc:chgData name="Pandey, Ritvik" userId="aa3a3568-d05e-4c17-8352-5616d00f28b0" providerId="ADAL" clId="{124F64FB-20B4-4557-867D-41849EBF929A}" dt="2020-07-29T13:53:30.609" v="2089"/>
        <pc:sldMkLst>
          <pc:docMk/>
          <pc:sldMk cId="995361134" sldId="412"/>
        </pc:sldMkLst>
      </pc:sldChg>
      <pc:sldChg chg="add">
        <pc:chgData name="Pandey, Ritvik" userId="aa3a3568-d05e-4c17-8352-5616d00f28b0" providerId="ADAL" clId="{124F64FB-20B4-4557-867D-41849EBF929A}" dt="2020-07-29T13:55:06.252" v="2091"/>
        <pc:sldMkLst>
          <pc:docMk/>
          <pc:sldMk cId="2882256230" sldId="413"/>
        </pc:sldMkLst>
      </pc:sldChg>
      <pc:sldChg chg="add">
        <pc:chgData name="Pandey, Ritvik" userId="aa3a3568-d05e-4c17-8352-5616d00f28b0" providerId="ADAL" clId="{124F64FB-20B4-4557-867D-41849EBF929A}" dt="2020-07-29T13:55:06.252" v="2091"/>
        <pc:sldMkLst>
          <pc:docMk/>
          <pc:sldMk cId="1389513904" sldId="414"/>
        </pc:sldMkLst>
      </pc:sldChg>
      <pc:sldChg chg="add">
        <pc:chgData name="Pandey, Ritvik" userId="aa3a3568-d05e-4c17-8352-5616d00f28b0" providerId="ADAL" clId="{124F64FB-20B4-4557-867D-41849EBF929A}" dt="2020-07-29T13:55:06.252" v="2091"/>
        <pc:sldMkLst>
          <pc:docMk/>
          <pc:sldMk cId="1549230395" sldId="415"/>
        </pc:sldMkLst>
      </pc:sldChg>
      <pc:sldChg chg="add">
        <pc:chgData name="Pandey, Ritvik" userId="aa3a3568-d05e-4c17-8352-5616d00f28b0" providerId="ADAL" clId="{124F64FB-20B4-4557-867D-41849EBF929A}" dt="2020-07-29T13:55:06.252" v="2091"/>
        <pc:sldMkLst>
          <pc:docMk/>
          <pc:sldMk cId="1264713699" sldId="416"/>
        </pc:sldMkLst>
      </pc:sldChg>
      <pc:sldChg chg="add">
        <pc:chgData name="Pandey, Ritvik" userId="aa3a3568-d05e-4c17-8352-5616d00f28b0" providerId="ADAL" clId="{124F64FB-20B4-4557-867D-41849EBF929A}" dt="2020-07-29T13:55:06.252" v="2091"/>
        <pc:sldMkLst>
          <pc:docMk/>
          <pc:sldMk cId="89797926" sldId="417"/>
        </pc:sldMkLst>
      </pc:sldChg>
      <pc:sldChg chg="add">
        <pc:chgData name="Pandey, Ritvik" userId="aa3a3568-d05e-4c17-8352-5616d00f28b0" providerId="ADAL" clId="{124F64FB-20B4-4557-867D-41849EBF929A}" dt="2020-07-29T13:55:06.252" v="2091"/>
        <pc:sldMkLst>
          <pc:docMk/>
          <pc:sldMk cId="648688547" sldId="418"/>
        </pc:sldMkLst>
      </pc:sldChg>
      <pc:sldChg chg="add">
        <pc:chgData name="Pandey, Ritvik" userId="aa3a3568-d05e-4c17-8352-5616d00f28b0" providerId="ADAL" clId="{124F64FB-20B4-4557-867D-41849EBF929A}" dt="2020-07-29T13:55:06.252" v="2091"/>
        <pc:sldMkLst>
          <pc:docMk/>
          <pc:sldMk cId="726841249" sldId="419"/>
        </pc:sldMkLst>
      </pc:sldChg>
      <pc:sldChg chg="add">
        <pc:chgData name="Pandey, Ritvik" userId="aa3a3568-d05e-4c17-8352-5616d00f28b0" providerId="ADAL" clId="{124F64FB-20B4-4557-867D-41849EBF929A}" dt="2020-07-29T13:55:06.252" v="2091"/>
        <pc:sldMkLst>
          <pc:docMk/>
          <pc:sldMk cId="371076187" sldId="420"/>
        </pc:sldMkLst>
      </pc:sldChg>
      <pc:sldChg chg="add">
        <pc:chgData name="Pandey, Ritvik" userId="aa3a3568-d05e-4c17-8352-5616d00f28b0" providerId="ADAL" clId="{124F64FB-20B4-4557-867D-41849EBF929A}" dt="2020-07-29T13:55:06.252" v="2091"/>
        <pc:sldMkLst>
          <pc:docMk/>
          <pc:sldMk cId="3077393882" sldId="421"/>
        </pc:sldMkLst>
      </pc:sldChg>
      <pc:sldChg chg="add">
        <pc:chgData name="Pandey, Ritvik" userId="aa3a3568-d05e-4c17-8352-5616d00f28b0" providerId="ADAL" clId="{124F64FB-20B4-4557-867D-41849EBF929A}" dt="2020-07-29T13:55:06.252" v="2091"/>
        <pc:sldMkLst>
          <pc:docMk/>
          <pc:sldMk cId="3309439308" sldId="422"/>
        </pc:sldMkLst>
      </pc:sldChg>
      <pc:sldChg chg="add">
        <pc:chgData name="Pandey, Ritvik" userId="aa3a3568-d05e-4c17-8352-5616d00f28b0" providerId="ADAL" clId="{124F64FB-20B4-4557-867D-41849EBF929A}" dt="2020-07-29T13:55:06.252" v="2091"/>
        <pc:sldMkLst>
          <pc:docMk/>
          <pc:sldMk cId="4266556361" sldId="423"/>
        </pc:sldMkLst>
      </pc:sldChg>
      <pc:sldChg chg="add">
        <pc:chgData name="Pandey, Ritvik" userId="aa3a3568-d05e-4c17-8352-5616d00f28b0" providerId="ADAL" clId="{124F64FB-20B4-4557-867D-41849EBF929A}" dt="2020-07-29T13:55:06.252" v="2091"/>
        <pc:sldMkLst>
          <pc:docMk/>
          <pc:sldMk cId="530313078" sldId="424"/>
        </pc:sldMkLst>
      </pc:sldChg>
      <pc:sldChg chg="add">
        <pc:chgData name="Pandey, Ritvik" userId="aa3a3568-d05e-4c17-8352-5616d00f28b0" providerId="ADAL" clId="{124F64FB-20B4-4557-867D-41849EBF929A}" dt="2020-07-29T13:55:06.252" v="2091"/>
        <pc:sldMkLst>
          <pc:docMk/>
          <pc:sldMk cId="3691794647" sldId="425"/>
        </pc:sldMkLst>
      </pc:sldChg>
      <pc:sldChg chg="add">
        <pc:chgData name="Pandey, Ritvik" userId="aa3a3568-d05e-4c17-8352-5616d00f28b0" providerId="ADAL" clId="{124F64FB-20B4-4557-867D-41849EBF929A}" dt="2020-07-29T13:55:06.252" v="2091"/>
        <pc:sldMkLst>
          <pc:docMk/>
          <pc:sldMk cId="106045109" sldId="426"/>
        </pc:sldMkLst>
      </pc:sldChg>
      <pc:sldChg chg="add">
        <pc:chgData name="Pandey, Ritvik" userId="aa3a3568-d05e-4c17-8352-5616d00f28b0" providerId="ADAL" clId="{124F64FB-20B4-4557-867D-41849EBF929A}" dt="2020-07-29T13:55:06.252" v="2091"/>
        <pc:sldMkLst>
          <pc:docMk/>
          <pc:sldMk cId="4095467285" sldId="427"/>
        </pc:sldMkLst>
      </pc:sldChg>
      <pc:sldChg chg="add">
        <pc:chgData name="Pandey, Ritvik" userId="aa3a3568-d05e-4c17-8352-5616d00f28b0" providerId="ADAL" clId="{124F64FB-20B4-4557-867D-41849EBF929A}" dt="2020-07-29T13:56:03.669" v="2092"/>
        <pc:sldMkLst>
          <pc:docMk/>
          <pc:sldMk cId="2177405208" sldId="428"/>
        </pc:sldMkLst>
      </pc:sldChg>
      <pc:sldChg chg="add">
        <pc:chgData name="Pandey, Ritvik" userId="aa3a3568-d05e-4c17-8352-5616d00f28b0" providerId="ADAL" clId="{124F64FB-20B4-4557-867D-41849EBF929A}" dt="2020-07-29T13:56:03.669" v="2092"/>
        <pc:sldMkLst>
          <pc:docMk/>
          <pc:sldMk cId="3597579440" sldId="429"/>
        </pc:sldMkLst>
      </pc:sldChg>
      <pc:sldChg chg="add">
        <pc:chgData name="Pandey, Ritvik" userId="aa3a3568-d05e-4c17-8352-5616d00f28b0" providerId="ADAL" clId="{124F64FB-20B4-4557-867D-41849EBF929A}" dt="2020-07-29T13:57:55.330" v="2093"/>
        <pc:sldMkLst>
          <pc:docMk/>
          <pc:sldMk cId="63864128" sldId="430"/>
        </pc:sldMkLst>
      </pc:sldChg>
      <pc:sldChg chg="add">
        <pc:chgData name="Pandey, Ritvik" userId="aa3a3568-d05e-4c17-8352-5616d00f28b0" providerId="ADAL" clId="{124F64FB-20B4-4557-867D-41849EBF929A}" dt="2020-07-29T13:57:55.330" v="2093"/>
        <pc:sldMkLst>
          <pc:docMk/>
          <pc:sldMk cId="3646418601" sldId="431"/>
        </pc:sldMkLst>
      </pc:sldChg>
      <pc:sldChg chg="add">
        <pc:chgData name="Pandey, Ritvik" userId="aa3a3568-d05e-4c17-8352-5616d00f28b0" providerId="ADAL" clId="{124F64FB-20B4-4557-867D-41849EBF929A}" dt="2020-07-29T13:57:55.330" v="2093"/>
        <pc:sldMkLst>
          <pc:docMk/>
          <pc:sldMk cId="2273187569" sldId="432"/>
        </pc:sldMkLst>
      </pc:sldChg>
      <pc:sldChg chg="add">
        <pc:chgData name="Pandey, Ritvik" userId="aa3a3568-d05e-4c17-8352-5616d00f28b0" providerId="ADAL" clId="{124F64FB-20B4-4557-867D-41849EBF929A}" dt="2020-07-29T13:57:55.330" v="2093"/>
        <pc:sldMkLst>
          <pc:docMk/>
          <pc:sldMk cId="1677228763" sldId="433"/>
        </pc:sldMkLst>
      </pc:sldChg>
    </pc:docChg>
  </pc:docChgLst>
  <pc:docChgLst>
    <pc:chgData name="Vernekar, SHEETAL" userId="S::sheetal.vernekar@honeywell.com::882e04e4-92eb-446d-813b-c1c53e02a47b" providerId="AD" clId="Web-{EEBC4CEC-8B71-4F5B-8ED0-73D34C496B19}"/>
    <pc:docChg chg="modSld">
      <pc:chgData name="Vernekar, SHEETAL" userId="S::sheetal.vernekar@honeywell.com::882e04e4-92eb-446d-813b-c1c53e02a47b" providerId="AD" clId="Web-{EEBC4CEC-8B71-4F5B-8ED0-73D34C496B19}" dt="2020-07-29T08:14:24.813" v="555" actId="20577"/>
      <pc:docMkLst>
        <pc:docMk/>
      </pc:docMkLst>
      <pc:sldChg chg="addSp delSp modSp">
        <pc:chgData name="Vernekar, SHEETAL" userId="S::sheetal.vernekar@honeywell.com::882e04e4-92eb-446d-813b-c1c53e02a47b" providerId="AD" clId="Web-{EEBC4CEC-8B71-4F5B-8ED0-73D34C496B19}" dt="2020-07-29T08:09:10.885" v="482" actId="20577"/>
        <pc:sldMkLst>
          <pc:docMk/>
          <pc:sldMk cId="2038585014" sldId="359"/>
        </pc:sldMkLst>
        <pc:spChg chg="add mod">
          <ac:chgData name="Vernekar, SHEETAL" userId="S::sheetal.vernekar@honeywell.com::882e04e4-92eb-446d-813b-c1c53e02a47b" providerId="AD" clId="Web-{EEBC4CEC-8B71-4F5B-8ED0-73D34C496B19}" dt="2020-07-29T07:46:46.842" v="141"/>
          <ac:spMkLst>
            <pc:docMk/>
            <pc:sldMk cId="2038585014" sldId="359"/>
            <ac:spMk id="6" creationId="{26E0694A-89F1-42A7-944C-3D88DC36F63F}"/>
          </ac:spMkLst>
        </pc:spChg>
        <pc:spChg chg="del">
          <ac:chgData name="Vernekar, SHEETAL" userId="S::sheetal.vernekar@honeywell.com::882e04e4-92eb-446d-813b-c1c53e02a47b" providerId="AD" clId="Web-{EEBC4CEC-8B71-4F5B-8ED0-73D34C496B19}" dt="2020-07-29T07:37:04.675" v="1"/>
          <ac:spMkLst>
            <pc:docMk/>
            <pc:sldMk cId="2038585014" sldId="359"/>
            <ac:spMk id="12" creationId="{98577CF4-BE65-465E-8E6E-4F922A5C2B9A}"/>
          </ac:spMkLst>
        </pc:spChg>
        <pc:spChg chg="del">
          <ac:chgData name="Vernekar, SHEETAL" userId="S::sheetal.vernekar@honeywell.com::882e04e4-92eb-446d-813b-c1c53e02a47b" providerId="AD" clId="Web-{EEBC4CEC-8B71-4F5B-8ED0-73D34C496B19}" dt="2020-07-29T07:37:14.300" v="2"/>
          <ac:spMkLst>
            <pc:docMk/>
            <pc:sldMk cId="2038585014" sldId="359"/>
            <ac:spMk id="15" creationId="{4405661C-430E-454C-A558-0A2024BA0A3E}"/>
          </ac:spMkLst>
        </pc:spChg>
        <pc:spChg chg="mod">
          <ac:chgData name="Vernekar, SHEETAL" userId="S::sheetal.vernekar@honeywell.com::882e04e4-92eb-446d-813b-c1c53e02a47b" providerId="AD" clId="Web-{EEBC4CEC-8B71-4F5B-8ED0-73D34C496B19}" dt="2020-07-29T07:57:13.136" v="352" actId="20577"/>
          <ac:spMkLst>
            <pc:docMk/>
            <pc:sldMk cId="2038585014" sldId="359"/>
            <ac:spMk id="16" creationId="{2E5059F6-087B-42C4-83BA-515AB13A251B}"/>
          </ac:spMkLst>
        </pc:spChg>
        <pc:spChg chg="mod">
          <ac:chgData name="Vernekar, SHEETAL" userId="S::sheetal.vernekar@honeywell.com::882e04e4-92eb-446d-813b-c1c53e02a47b" providerId="AD" clId="Web-{EEBC4CEC-8B71-4F5B-8ED0-73D34C496B19}" dt="2020-07-29T08:09:10.885" v="482" actId="20577"/>
          <ac:spMkLst>
            <pc:docMk/>
            <pc:sldMk cId="2038585014" sldId="359"/>
            <ac:spMk id="17" creationId="{3B745A91-8A68-4BBA-B8E1-E6E683AF3061}"/>
          </ac:spMkLst>
        </pc:spChg>
        <pc:spChg chg="del">
          <ac:chgData name="Vernekar, SHEETAL" userId="S::sheetal.vernekar@honeywell.com::882e04e4-92eb-446d-813b-c1c53e02a47b" providerId="AD" clId="Web-{EEBC4CEC-8B71-4F5B-8ED0-73D34C496B19}" dt="2020-07-29T07:37:03.050" v="0"/>
          <ac:spMkLst>
            <pc:docMk/>
            <pc:sldMk cId="2038585014" sldId="359"/>
            <ac:spMk id="18" creationId="{8923581D-D08B-49E8-BD68-608F4CA45748}"/>
          </ac:spMkLst>
        </pc:spChg>
        <pc:spChg chg="del">
          <ac:chgData name="Vernekar, SHEETAL" userId="S::sheetal.vernekar@honeywell.com::882e04e4-92eb-446d-813b-c1c53e02a47b" providerId="AD" clId="Web-{EEBC4CEC-8B71-4F5B-8ED0-73D34C496B19}" dt="2020-07-29T07:37:15.362" v="3"/>
          <ac:spMkLst>
            <pc:docMk/>
            <pc:sldMk cId="2038585014" sldId="359"/>
            <ac:spMk id="19" creationId="{50A796E9-BECB-4C12-8354-7E3FDE4A0F75}"/>
          </ac:spMkLst>
        </pc:spChg>
        <pc:spChg chg="add mod">
          <ac:chgData name="Vernekar, SHEETAL" userId="S::sheetal.vernekar@honeywell.com::882e04e4-92eb-446d-813b-c1c53e02a47b" providerId="AD" clId="Web-{EEBC4CEC-8B71-4F5B-8ED0-73D34C496B19}" dt="2020-07-29T07:46:29.217" v="139" actId="20577"/>
          <ac:spMkLst>
            <pc:docMk/>
            <pc:sldMk cId="2038585014" sldId="359"/>
            <ac:spMk id="21" creationId="{27CB8127-6788-4BEA-9CED-FF956F003658}"/>
          </ac:spMkLst>
        </pc:spChg>
        <pc:spChg chg="add mod">
          <ac:chgData name="Vernekar, SHEETAL" userId="S::sheetal.vernekar@honeywell.com::882e04e4-92eb-446d-813b-c1c53e02a47b" providerId="AD" clId="Web-{EEBC4CEC-8B71-4F5B-8ED0-73D34C496B19}" dt="2020-07-29T07:59:13.764" v="394" actId="20577"/>
          <ac:spMkLst>
            <pc:docMk/>
            <pc:sldMk cId="2038585014" sldId="359"/>
            <ac:spMk id="24" creationId="{4C968BCB-4900-4575-A44C-3F7F86E2B57F}"/>
          </ac:spMkLst>
        </pc:spChg>
        <pc:spChg chg="add mod">
          <ac:chgData name="Vernekar, SHEETAL" userId="S::sheetal.vernekar@honeywell.com::882e04e4-92eb-446d-813b-c1c53e02a47b" providerId="AD" clId="Web-{EEBC4CEC-8B71-4F5B-8ED0-73D34C496B19}" dt="2020-07-29T08:03:41.347" v="410" actId="20577"/>
          <ac:spMkLst>
            <pc:docMk/>
            <pc:sldMk cId="2038585014" sldId="359"/>
            <ac:spMk id="25" creationId="{4C31C1F6-8451-4DE1-A735-F2A31C1FF247}"/>
          </ac:spMkLst>
        </pc:spChg>
        <pc:cxnChg chg="add mod">
          <ac:chgData name="Vernekar, SHEETAL" userId="S::sheetal.vernekar@honeywell.com::882e04e4-92eb-446d-813b-c1c53e02a47b" providerId="AD" clId="Web-{EEBC4CEC-8B71-4F5B-8ED0-73D34C496B19}" dt="2020-07-29T07:53:39.898" v="266" actId="14100"/>
          <ac:cxnSpMkLst>
            <pc:docMk/>
            <pc:sldMk cId="2038585014" sldId="359"/>
            <ac:cxnSpMk id="5" creationId="{219E229E-C01F-466B-9941-31BEBEBE06F7}"/>
          </ac:cxnSpMkLst>
        </pc:cxnChg>
        <pc:cxnChg chg="add mod">
          <ac:chgData name="Vernekar, SHEETAL" userId="S::sheetal.vernekar@honeywell.com::882e04e4-92eb-446d-813b-c1c53e02a47b" providerId="AD" clId="Web-{EEBC4CEC-8B71-4F5B-8ED0-73D34C496B19}" dt="2020-07-29T07:45:27.341" v="120" actId="14100"/>
          <ac:cxnSpMkLst>
            <pc:docMk/>
            <pc:sldMk cId="2038585014" sldId="359"/>
            <ac:cxnSpMk id="20" creationId="{7BBF0932-24AD-4497-852A-230B34ADC842}"/>
          </ac:cxnSpMkLst>
        </pc:cxnChg>
        <pc:cxnChg chg="add mod">
          <ac:chgData name="Vernekar, SHEETAL" userId="S::sheetal.vernekar@honeywell.com::882e04e4-92eb-446d-813b-c1c53e02a47b" providerId="AD" clId="Web-{EEBC4CEC-8B71-4F5B-8ED0-73D34C496B19}" dt="2020-07-29T07:54:55.118" v="274" actId="14100"/>
          <ac:cxnSpMkLst>
            <pc:docMk/>
            <pc:sldMk cId="2038585014" sldId="359"/>
            <ac:cxnSpMk id="22" creationId="{2B1A1389-DB7F-4097-BF9A-D2E37A0542D7}"/>
          </ac:cxnSpMkLst>
        </pc:cxnChg>
        <pc:cxnChg chg="add mod">
          <ac:chgData name="Vernekar, SHEETAL" userId="S::sheetal.vernekar@honeywell.com::882e04e4-92eb-446d-813b-c1c53e02a47b" providerId="AD" clId="Web-{EEBC4CEC-8B71-4F5B-8ED0-73D34C496B19}" dt="2020-07-29T07:54:43.024" v="272" actId="1076"/>
          <ac:cxnSpMkLst>
            <pc:docMk/>
            <pc:sldMk cId="2038585014" sldId="359"/>
            <ac:cxnSpMk id="23" creationId="{D0271ED6-1AB1-48AC-9CC3-014DFBF97312}"/>
          </ac:cxnSpMkLst>
        </pc:cxnChg>
      </pc:sldChg>
      <pc:sldChg chg="delSp modSp">
        <pc:chgData name="Vernekar, SHEETAL" userId="S::sheetal.vernekar@honeywell.com::882e04e4-92eb-446d-813b-c1c53e02a47b" providerId="AD" clId="Web-{EEBC4CEC-8B71-4F5B-8ED0-73D34C496B19}" dt="2020-07-29T08:14:24.813" v="555" actId="20577"/>
        <pc:sldMkLst>
          <pc:docMk/>
          <pc:sldMk cId="1783841439" sldId="397"/>
        </pc:sldMkLst>
        <pc:spChg chg="mod">
          <ac:chgData name="Vernekar, SHEETAL" userId="S::sheetal.vernekar@honeywell.com::882e04e4-92eb-446d-813b-c1c53e02a47b" providerId="AD" clId="Web-{EEBC4CEC-8B71-4F5B-8ED0-73D34C496B19}" dt="2020-07-29T08:14:24.813" v="555" actId="20577"/>
          <ac:spMkLst>
            <pc:docMk/>
            <pc:sldMk cId="1783841439" sldId="397"/>
            <ac:spMk id="9" creationId="{13684E5A-F00A-4250-BA27-4DA2B7AD0A45}"/>
          </ac:spMkLst>
        </pc:spChg>
        <pc:spChg chg="mod">
          <ac:chgData name="Vernekar, SHEETAL" userId="S::sheetal.vernekar@honeywell.com::882e04e4-92eb-446d-813b-c1c53e02a47b" providerId="AD" clId="Web-{EEBC4CEC-8B71-4F5B-8ED0-73D34C496B19}" dt="2020-07-29T08:14:06.735" v="545" actId="20577"/>
          <ac:spMkLst>
            <pc:docMk/>
            <pc:sldMk cId="1783841439" sldId="397"/>
            <ac:spMk id="13" creationId="{00000000-0000-0000-0000-000000000000}"/>
          </ac:spMkLst>
        </pc:spChg>
        <pc:spChg chg="mod">
          <ac:chgData name="Vernekar, SHEETAL" userId="S::sheetal.vernekar@honeywell.com::882e04e4-92eb-446d-813b-c1c53e02a47b" providerId="AD" clId="Web-{EEBC4CEC-8B71-4F5B-8ED0-73D34C496B19}" dt="2020-07-29T08:13:40.656" v="541" actId="1076"/>
          <ac:spMkLst>
            <pc:docMk/>
            <pc:sldMk cId="1783841439" sldId="397"/>
            <ac:spMk id="14" creationId="{00000000-0000-0000-0000-000000000000}"/>
          </ac:spMkLst>
        </pc:spChg>
        <pc:spChg chg="mod">
          <ac:chgData name="Vernekar, SHEETAL" userId="S::sheetal.vernekar@honeywell.com::882e04e4-92eb-446d-813b-c1c53e02a47b" providerId="AD" clId="Web-{EEBC4CEC-8B71-4F5B-8ED0-73D34C496B19}" dt="2020-07-29T08:14:13.078" v="546" actId="1076"/>
          <ac:spMkLst>
            <pc:docMk/>
            <pc:sldMk cId="1783841439" sldId="397"/>
            <ac:spMk id="19" creationId="{00000000-0000-0000-0000-000000000000}"/>
          </ac:spMkLst>
        </pc:spChg>
        <pc:spChg chg="del">
          <ac:chgData name="Vernekar, SHEETAL" userId="S::sheetal.vernekar@honeywell.com::882e04e4-92eb-446d-813b-c1c53e02a47b" providerId="AD" clId="Web-{EEBC4CEC-8B71-4F5B-8ED0-73D34C496B19}" dt="2020-07-29T08:12:01.170" v="536"/>
          <ac:spMkLst>
            <pc:docMk/>
            <pc:sldMk cId="1783841439" sldId="397"/>
            <ac:spMk id="20" creationId="{00000000-0000-0000-0000-000000000000}"/>
          </ac:spMkLst>
        </pc:spChg>
        <pc:spChg chg="del">
          <ac:chgData name="Vernekar, SHEETAL" userId="S::sheetal.vernekar@honeywell.com::882e04e4-92eb-446d-813b-c1c53e02a47b" providerId="AD" clId="Web-{EEBC4CEC-8B71-4F5B-8ED0-73D34C496B19}" dt="2020-07-29T08:12:05.170" v="538"/>
          <ac:spMkLst>
            <pc:docMk/>
            <pc:sldMk cId="1783841439" sldId="397"/>
            <ac:spMk id="21" creationId="{00000000-0000-0000-0000-000000000000}"/>
          </ac:spMkLst>
        </pc:spChg>
        <pc:spChg chg="del">
          <ac:chgData name="Vernekar, SHEETAL" userId="S::sheetal.vernekar@honeywell.com::882e04e4-92eb-446d-813b-c1c53e02a47b" providerId="AD" clId="Web-{EEBC4CEC-8B71-4F5B-8ED0-73D34C496B19}" dt="2020-07-29T08:12:06.982" v="539"/>
          <ac:spMkLst>
            <pc:docMk/>
            <pc:sldMk cId="1783841439" sldId="397"/>
            <ac:spMk id="22" creationId="{00000000-0000-0000-0000-000000000000}"/>
          </ac:spMkLst>
        </pc:spChg>
        <pc:picChg chg="del">
          <ac:chgData name="Vernekar, SHEETAL" userId="S::sheetal.vernekar@honeywell.com::882e04e4-92eb-446d-813b-c1c53e02a47b" providerId="AD" clId="Web-{EEBC4CEC-8B71-4F5B-8ED0-73D34C496B19}" dt="2020-07-29T08:12:02.966" v="537"/>
          <ac:picMkLst>
            <pc:docMk/>
            <pc:sldMk cId="1783841439" sldId="397"/>
            <ac:picMk id="6" creationId="{874D7037-203E-41D3-A2B8-7D532198C798}"/>
          </ac:picMkLst>
        </pc:picChg>
      </pc:sldChg>
    </pc:docChg>
  </pc:docChgLst>
  <pc:docChgLst>
    <pc:chgData name="Vernekar, SHEETAL" userId="S::sheetal.vernekar@honeywell.com::882e04e4-92eb-446d-813b-c1c53e02a47b" providerId="AD" clId="Web-{9DB79544-3D46-4C6E-8279-E3D64CACAFE0}"/>
    <pc:docChg chg="modSld">
      <pc:chgData name="Vernekar, SHEETAL" userId="S::sheetal.vernekar@honeywell.com::882e04e4-92eb-446d-813b-c1c53e02a47b" providerId="AD" clId="Web-{9DB79544-3D46-4C6E-8279-E3D64CACAFE0}" dt="2020-07-29T09:42:38.195" v="484" actId="1076"/>
      <pc:docMkLst>
        <pc:docMk/>
      </pc:docMkLst>
      <pc:sldChg chg="addSp delSp modSp">
        <pc:chgData name="Vernekar, SHEETAL" userId="S::sheetal.vernekar@honeywell.com::882e04e4-92eb-446d-813b-c1c53e02a47b" providerId="AD" clId="Web-{9DB79544-3D46-4C6E-8279-E3D64CACAFE0}" dt="2020-07-29T09:42:38.195" v="484" actId="1076"/>
        <pc:sldMkLst>
          <pc:docMk/>
          <pc:sldMk cId="3268502131" sldId="395"/>
        </pc:sldMkLst>
        <pc:spChg chg="add mod">
          <ac:chgData name="Vernekar, SHEETAL" userId="S::sheetal.vernekar@honeywell.com::882e04e4-92eb-446d-813b-c1c53e02a47b" providerId="AD" clId="Web-{9DB79544-3D46-4C6E-8279-E3D64CACAFE0}" dt="2020-07-29T09:42:38.195" v="484" actId="1076"/>
          <ac:spMkLst>
            <pc:docMk/>
            <pc:sldMk cId="3268502131" sldId="395"/>
            <ac:spMk id="9" creationId="{53843691-4B37-4662-B0D0-C292B4CAC0FF}"/>
          </ac:spMkLst>
        </pc:spChg>
        <pc:spChg chg="mod">
          <ac:chgData name="Vernekar, SHEETAL" userId="S::sheetal.vernekar@honeywell.com::882e04e4-92eb-446d-813b-c1c53e02a47b" providerId="AD" clId="Web-{9DB79544-3D46-4C6E-8279-E3D64CACAFE0}" dt="2020-07-29T09:41:30.239" v="421" actId="20577"/>
          <ac:spMkLst>
            <pc:docMk/>
            <pc:sldMk cId="3268502131" sldId="395"/>
            <ac:spMk id="10" creationId="{172549B3-844E-4CDE-98BE-A53B406FCB58}"/>
          </ac:spMkLst>
        </pc:spChg>
        <pc:spChg chg="mod">
          <ac:chgData name="Vernekar, SHEETAL" userId="S::sheetal.vernekar@honeywell.com::882e04e4-92eb-446d-813b-c1c53e02a47b" providerId="AD" clId="Web-{9DB79544-3D46-4C6E-8279-E3D64CACAFE0}" dt="2020-07-29T09:41:30.304" v="422" actId="1076"/>
          <ac:spMkLst>
            <pc:docMk/>
            <pc:sldMk cId="3268502131" sldId="395"/>
            <ac:spMk id="11" creationId="{AA6A2497-D06D-43AD-AC3D-8001F53739AD}"/>
          </ac:spMkLst>
        </pc:spChg>
        <pc:spChg chg="add del mod">
          <ac:chgData name="Vernekar, SHEETAL" userId="S::sheetal.vernekar@honeywell.com::882e04e4-92eb-446d-813b-c1c53e02a47b" providerId="AD" clId="Web-{9DB79544-3D46-4C6E-8279-E3D64CACAFE0}" dt="2020-07-29T09:42:12.366" v="441"/>
          <ac:spMkLst>
            <pc:docMk/>
            <pc:sldMk cId="3268502131" sldId="395"/>
            <ac:spMk id="13" creationId="{94F06E73-DEA2-4D24-8449-68B62CEC62C3}"/>
          </ac:spMkLst>
        </pc:spChg>
        <pc:picChg chg="add mod">
          <ac:chgData name="Vernekar, SHEETAL" userId="S::sheetal.vernekar@honeywell.com::882e04e4-92eb-446d-813b-c1c53e02a47b" providerId="AD" clId="Web-{9DB79544-3D46-4C6E-8279-E3D64CACAFE0}" dt="2020-07-29T09:41:42.208" v="427" actId="1076"/>
          <ac:picMkLst>
            <pc:docMk/>
            <pc:sldMk cId="3268502131" sldId="395"/>
            <ac:picMk id="5" creationId="{F0D9C5E8-D88D-48FC-B571-F01C0E5668D0}"/>
          </ac:picMkLst>
        </pc:picChg>
      </pc:sldChg>
      <pc:sldChg chg="addSp modSp">
        <pc:chgData name="Vernekar, SHEETAL" userId="S::sheetal.vernekar@honeywell.com::882e04e4-92eb-446d-813b-c1c53e02a47b" providerId="AD" clId="Web-{9DB79544-3D46-4C6E-8279-E3D64CACAFE0}" dt="2020-07-29T09:37:15.226" v="416" actId="14100"/>
        <pc:sldMkLst>
          <pc:docMk/>
          <pc:sldMk cId="1783841439" sldId="397"/>
        </pc:sldMkLst>
        <pc:spChg chg="mod">
          <ac:chgData name="Vernekar, SHEETAL" userId="S::sheetal.vernekar@honeywell.com::882e04e4-92eb-446d-813b-c1c53e02a47b" providerId="AD" clId="Web-{9DB79544-3D46-4C6E-8279-E3D64CACAFE0}" dt="2020-07-29T09:34:07.170" v="400" actId="20577"/>
          <ac:spMkLst>
            <pc:docMk/>
            <pc:sldMk cId="1783841439" sldId="397"/>
            <ac:spMk id="6" creationId="{8F213431-3595-4067-9395-6FF883C79B00}"/>
          </ac:spMkLst>
        </pc:spChg>
        <pc:spChg chg="mod">
          <ac:chgData name="Vernekar, SHEETAL" userId="S::sheetal.vernekar@honeywell.com::882e04e4-92eb-446d-813b-c1c53e02a47b" providerId="AD" clId="Web-{9DB79544-3D46-4C6E-8279-E3D64CACAFE0}" dt="2020-07-29T09:29:03.046" v="187" actId="20577"/>
          <ac:spMkLst>
            <pc:docMk/>
            <pc:sldMk cId="1783841439" sldId="397"/>
            <ac:spMk id="9" creationId="{13684E5A-F00A-4250-BA27-4DA2B7AD0A45}"/>
          </ac:spMkLst>
        </pc:spChg>
        <pc:picChg chg="mod">
          <ac:chgData name="Vernekar, SHEETAL" userId="S::sheetal.vernekar@honeywell.com::882e04e4-92eb-446d-813b-c1c53e02a47b" providerId="AD" clId="Web-{9DB79544-3D46-4C6E-8279-E3D64CACAFE0}" dt="2020-07-29T09:36:27.443" v="408"/>
          <ac:picMkLst>
            <pc:docMk/>
            <pc:sldMk cId="1783841439" sldId="397"/>
            <ac:picMk id="5" creationId="{F0059BAD-C061-4C1B-968A-797FA24CED95}"/>
          </ac:picMkLst>
        </pc:picChg>
        <pc:picChg chg="add mod">
          <ac:chgData name="Vernekar, SHEETAL" userId="S::sheetal.vernekar@honeywell.com::882e04e4-92eb-446d-813b-c1c53e02a47b" providerId="AD" clId="Web-{9DB79544-3D46-4C6E-8279-E3D64CACAFE0}" dt="2020-07-29T09:36:32.709" v="409" actId="1076"/>
          <ac:picMkLst>
            <pc:docMk/>
            <pc:sldMk cId="1783841439" sldId="397"/>
            <ac:picMk id="7" creationId="{07893D45-3952-4B51-9345-7F2CFCD8EE48}"/>
          </ac:picMkLst>
        </pc:picChg>
        <pc:cxnChg chg="add mod">
          <ac:chgData name="Vernekar, SHEETAL" userId="S::sheetal.vernekar@honeywell.com::882e04e4-92eb-446d-813b-c1c53e02a47b" providerId="AD" clId="Web-{9DB79544-3D46-4C6E-8279-E3D64CACAFE0}" dt="2020-07-29T09:37:15.226" v="416" actId="14100"/>
          <ac:cxnSpMkLst>
            <pc:docMk/>
            <pc:sldMk cId="1783841439" sldId="397"/>
            <ac:cxnSpMk id="8" creationId="{FE0F252D-9C36-453B-A37B-EE84EBC34875}"/>
          </ac:cxnSpMkLst>
        </pc:cxnChg>
      </pc:sldChg>
    </pc:docChg>
  </pc:docChgLst>
  <pc:docChgLst>
    <pc:chgData name="Pandey, Ritvik" userId="S::ritvik.pandey@honeywell.com::aa3a3568-d05e-4c17-8352-5616d00f28b0" providerId="AD" clId="Web-{081054EE-8741-4111-BEAB-BFC9C44C741F}"/>
    <pc:docChg chg="modSld">
      <pc:chgData name="Pandey, Ritvik" userId="S::ritvik.pandey@honeywell.com::aa3a3568-d05e-4c17-8352-5616d00f28b0" providerId="AD" clId="Web-{081054EE-8741-4111-BEAB-BFC9C44C741F}" dt="2020-07-29T16:45:05.069" v="0"/>
      <pc:docMkLst>
        <pc:docMk/>
      </pc:docMkLst>
      <pc:sldChg chg="delSp">
        <pc:chgData name="Pandey, Ritvik" userId="S::ritvik.pandey@honeywell.com::aa3a3568-d05e-4c17-8352-5616d00f28b0" providerId="AD" clId="Web-{081054EE-8741-4111-BEAB-BFC9C44C741F}" dt="2020-07-29T16:45:05.069" v="0"/>
        <pc:sldMkLst>
          <pc:docMk/>
          <pc:sldMk cId="1725906683" sldId="408"/>
        </pc:sldMkLst>
        <pc:picChg chg="del">
          <ac:chgData name="Pandey, Ritvik" userId="S::ritvik.pandey@honeywell.com::aa3a3568-d05e-4c17-8352-5616d00f28b0" providerId="AD" clId="Web-{081054EE-8741-4111-BEAB-BFC9C44C741F}" dt="2020-07-29T16:45:05.069" v="0"/>
          <ac:picMkLst>
            <pc:docMk/>
            <pc:sldMk cId="1725906683" sldId="408"/>
            <ac:picMk id="7" creationId="{3998F926-769B-4C5B-A98F-5A8231428B52}"/>
          </ac:picMkLst>
        </pc:picChg>
      </pc:sldChg>
    </pc:docChg>
  </pc:docChgLst>
  <pc:docChgLst>
    <pc:chgData name="Vernekar, SHEETAL" userId="S::sheetal.vernekar@honeywell.com::882e04e4-92eb-446d-813b-c1c53e02a47b" providerId="AD" clId="Web-{4A7FC659-BFBC-4E77-A23C-F5A830781D14}"/>
    <pc:docChg chg="sldOrd">
      <pc:chgData name="Vernekar, SHEETAL" userId="S::sheetal.vernekar@honeywell.com::882e04e4-92eb-446d-813b-c1c53e02a47b" providerId="AD" clId="Web-{4A7FC659-BFBC-4E77-A23C-F5A830781D14}" dt="2020-07-29T06:30:38.613" v="0"/>
      <pc:docMkLst>
        <pc:docMk/>
      </pc:docMkLst>
      <pc:sldChg chg="ord">
        <pc:chgData name="Vernekar, SHEETAL" userId="S::sheetal.vernekar@honeywell.com::882e04e4-92eb-446d-813b-c1c53e02a47b" providerId="AD" clId="Web-{4A7FC659-BFBC-4E77-A23C-F5A830781D14}" dt="2020-07-29T06:30:38.613" v="0"/>
        <pc:sldMkLst>
          <pc:docMk/>
          <pc:sldMk cId="2038585014" sldId="359"/>
        </pc:sldMkLst>
      </pc:sldChg>
    </pc:docChg>
  </pc:docChgLst>
  <pc:docChgLst>
    <pc:chgData name="Vernekar, SHEETAL" userId="S::sheetal.vernekar@honeywell.com::882e04e4-92eb-446d-813b-c1c53e02a47b" providerId="AD" clId="Web-{CC609474-610D-42A6-BF78-6E751CCD5016}"/>
    <pc:docChg chg="delSld modSection">
      <pc:chgData name="Vernekar, SHEETAL" userId="S::sheetal.vernekar@honeywell.com::882e04e4-92eb-446d-813b-c1c53e02a47b" providerId="AD" clId="Web-{CC609474-610D-42A6-BF78-6E751CCD5016}" dt="2020-07-28T19:27:33.065" v="0"/>
      <pc:docMkLst>
        <pc:docMk/>
      </pc:docMkLst>
      <pc:sldChg chg="del">
        <pc:chgData name="Vernekar, SHEETAL" userId="S::sheetal.vernekar@honeywell.com::882e04e4-92eb-446d-813b-c1c53e02a47b" providerId="AD" clId="Web-{CC609474-610D-42A6-BF78-6E751CCD5016}" dt="2020-07-28T19:27:33.065" v="0"/>
        <pc:sldMkLst>
          <pc:docMk/>
          <pc:sldMk cId="2701574666" sldId="394"/>
        </pc:sldMkLst>
      </pc:sldChg>
    </pc:docChg>
  </pc:docChgLst>
  <pc:docChgLst>
    <pc:chgData name="Pandey, Ritvik" userId="S::ritvik.pandey@honeywell.com::aa3a3568-d05e-4c17-8352-5616d00f28b0" providerId="AD" clId="Web-{BF3D1187-3086-4B9E-BF10-9840469C4105}"/>
    <pc:docChg chg="modSld">
      <pc:chgData name="Pandey, Ritvik" userId="S::ritvik.pandey@honeywell.com::aa3a3568-d05e-4c17-8352-5616d00f28b0" providerId="AD" clId="Web-{BF3D1187-3086-4B9E-BF10-9840469C4105}" dt="2020-07-28T20:00:39.786" v="6" actId="14100"/>
      <pc:docMkLst>
        <pc:docMk/>
      </pc:docMkLst>
      <pc:sldChg chg="delSp modSp">
        <pc:chgData name="Pandey, Ritvik" userId="S::ritvik.pandey@honeywell.com::aa3a3568-d05e-4c17-8352-5616d00f28b0" providerId="AD" clId="Web-{BF3D1187-3086-4B9E-BF10-9840469C4105}" dt="2020-07-28T20:00:39.786" v="6" actId="14100"/>
        <pc:sldMkLst>
          <pc:docMk/>
          <pc:sldMk cId="510352184" sldId="400"/>
        </pc:sldMkLst>
        <pc:spChg chg="del mod">
          <ac:chgData name="Pandey, Ritvik" userId="S::ritvik.pandey@honeywell.com::aa3a3568-d05e-4c17-8352-5616d00f28b0" providerId="AD" clId="Web-{BF3D1187-3086-4B9E-BF10-9840469C4105}" dt="2020-07-28T20:00:30.504" v="3"/>
          <ac:spMkLst>
            <pc:docMk/>
            <pc:sldMk cId="510352184" sldId="400"/>
            <ac:spMk id="17" creationId="{B1FE251C-450C-469A-8E89-A437E9FC8996}"/>
          </ac:spMkLst>
        </pc:spChg>
        <pc:spChg chg="mod">
          <ac:chgData name="Pandey, Ritvik" userId="S::ritvik.pandey@honeywell.com::aa3a3568-d05e-4c17-8352-5616d00f28b0" providerId="AD" clId="Web-{BF3D1187-3086-4B9E-BF10-9840469C4105}" dt="2020-07-28T20:00:39.786" v="6" actId="14100"/>
          <ac:spMkLst>
            <pc:docMk/>
            <pc:sldMk cId="510352184" sldId="400"/>
            <ac:spMk id="18" creationId="{94A7BB9D-19CE-4303-A940-5AE72ACB7FFB}"/>
          </ac:spMkLst>
        </pc:spChg>
      </pc:sldChg>
    </pc:docChg>
  </pc:docChgLst>
  <pc:docChgLst>
    <pc:chgData name="Vernekar, SHEETAL" userId="S::sheetal.vernekar@honeywell.com::882e04e4-92eb-446d-813b-c1c53e02a47b" providerId="AD" clId="Web-{1318C916-1266-4351-8F88-806F2E330032}"/>
    <pc:docChg chg="modSld">
      <pc:chgData name="Vernekar, SHEETAL" userId="S::sheetal.vernekar@honeywell.com::882e04e4-92eb-446d-813b-c1c53e02a47b" providerId="AD" clId="Web-{1318C916-1266-4351-8F88-806F2E330032}" dt="2020-07-29T07:05:42.852" v="84"/>
      <pc:docMkLst>
        <pc:docMk/>
      </pc:docMkLst>
      <pc:sldChg chg="addSp delSp modSp">
        <pc:chgData name="Vernekar, SHEETAL" userId="S::sheetal.vernekar@honeywell.com::882e04e4-92eb-446d-813b-c1c53e02a47b" providerId="AD" clId="Web-{1318C916-1266-4351-8F88-806F2E330032}" dt="2020-07-29T07:05:42.852" v="84"/>
        <pc:sldMkLst>
          <pc:docMk/>
          <pc:sldMk cId="2038585014" sldId="359"/>
        </pc:sldMkLst>
        <pc:spChg chg="del">
          <ac:chgData name="Vernekar, SHEETAL" userId="S::sheetal.vernekar@honeywell.com::882e04e4-92eb-446d-813b-c1c53e02a47b" providerId="AD" clId="Web-{1318C916-1266-4351-8F88-806F2E330032}" dt="2020-07-29T07:05:42.852" v="84"/>
          <ac:spMkLst>
            <pc:docMk/>
            <pc:sldMk cId="2038585014" sldId="359"/>
            <ac:spMk id="10" creationId="{B291069C-F97D-4E61-8CAC-37DC4DF7DEE4}"/>
          </ac:spMkLst>
        </pc:spChg>
        <pc:spChg chg="add del mod">
          <ac:chgData name="Vernekar, SHEETAL" userId="S::sheetal.vernekar@honeywell.com::882e04e4-92eb-446d-813b-c1c53e02a47b" providerId="AD" clId="Web-{1318C916-1266-4351-8F88-806F2E330032}" dt="2020-07-29T07:04:52.946" v="83" actId="20577"/>
          <ac:spMkLst>
            <pc:docMk/>
            <pc:sldMk cId="2038585014" sldId="359"/>
            <ac:spMk id="12" creationId="{98577CF4-BE65-465E-8E6E-4F922A5C2B9A}"/>
          </ac:spMkLst>
        </pc:spChg>
        <pc:spChg chg="mod">
          <ac:chgData name="Vernekar, SHEETAL" userId="S::sheetal.vernekar@honeywell.com::882e04e4-92eb-446d-813b-c1c53e02a47b" providerId="AD" clId="Web-{1318C916-1266-4351-8F88-806F2E330032}" dt="2020-07-29T07:03:07.493" v="64" actId="20577"/>
          <ac:spMkLst>
            <pc:docMk/>
            <pc:sldMk cId="2038585014" sldId="359"/>
            <ac:spMk id="15" creationId="{4405661C-430E-454C-A558-0A2024BA0A3E}"/>
          </ac:spMkLst>
        </pc:spChg>
        <pc:spChg chg="mod">
          <ac:chgData name="Vernekar, SHEETAL" userId="S::sheetal.vernekar@honeywell.com::882e04e4-92eb-446d-813b-c1c53e02a47b" providerId="AD" clId="Web-{1318C916-1266-4351-8F88-806F2E330032}" dt="2020-07-29T07:03:20.290" v="67" actId="20577"/>
          <ac:spMkLst>
            <pc:docMk/>
            <pc:sldMk cId="2038585014" sldId="359"/>
            <ac:spMk id="18" creationId="{8923581D-D08B-49E8-BD68-608F4CA45748}"/>
          </ac:spMkLst>
        </pc:spChg>
        <pc:spChg chg="mod">
          <ac:chgData name="Vernekar, SHEETAL" userId="S::sheetal.vernekar@honeywell.com::882e04e4-92eb-446d-813b-c1c53e02a47b" providerId="AD" clId="Web-{1318C916-1266-4351-8F88-806F2E330032}" dt="2020-07-29T07:03:36.634" v="69" actId="20577"/>
          <ac:spMkLst>
            <pc:docMk/>
            <pc:sldMk cId="2038585014" sldId="359"/>
            <ac:spMk id="19" creationId="{50A796E9-BECB-4C12-8354-7E3FDE4A0F75}"/>
          </ac:spMkLst>
        </pc:spChg>
      </pc:sldChg>
      <pc:sldChg chg="modSp">
        <pc:chgData name="Vernekar, SHEETAL" userId="S::sheetal.vernekar@honeywell.com::882e04e4-92eb-446d-813b-c1c53e02a47b" providerId="AD" clId="Web-{1318C916-1266-4351-8F88-806F2E330032}" dt="2020-07-29T07:03:52.306" v="73" actId="20577"/>
        <pc:sldMkLst>
          <pc:docMk/>
          <pc:sldMk cId="1783841439" sldId="397"/>
        </pc:sldMkLst>
        <pc:spChg chg="mod">
          <ac:chgData name="Vernekar, SHEETAL" userId="S::sheetal.vernekar@honeywell.com::882e04e4-92eb-446d-813b-c1c53e02a47b" providerId="AD" clId="Web-{1318C916-1266-4351-8F88-806F2E330032}" dt="2020-07-29T07:03:01.681" v="63" actId="20577"/>
          <ac:spMkLst>
            <pc:docMk/>
            <pc:sldMk cId="1783841439" sldId="397"/>
            <ac:spMk id="13" creationId="{00000000-0000-0000-0000-000000000000}"/>
          </ac:spMkLst>
        </pc:spChg>
        <pc:spChg chg="mod">
          <ac:chgData name="Vernekar, SHEETAL" userId="S::sheetal.vernekar@honeywell.com::882e04e4-92eb-446d-813b-c1c53e02a47b" providerId="AD" clId="Web-{1318C916-1266-4351-8F88-806F2E330032}" dt="2020-07-29T07:03:31.196" v="68" actId="20577"/>
          <ac:spMkLst>
            <pc:docMk/>
            <pc:sldMk cId="1783841439" sldId="397"/>
            <ac:spMk id="14" creationId="{00000000-0000-0000-0000-000000000000}"/>
          </ac:spMkLst>
        </pc:spChg>
        <pc:spChg chg="mod">
          <ac:chgData name="Vernekar, SHEETAL" userId="S::sheetal.vernekar@honeywell.com::882e04e4-92eb-446d-813b-c1c53e02a47b" providerId="AD" clId="Web-{1318C916-1266-4351-8F88-806F2E330032}" dt="2020-07-29T07:03:15.509" v="66" actId="20577"/>
          <ac:spMkLst>
            <pc:docMk/>
            <pc:sldMk cId="1783841439" sldId="397"/>
            <ac:spMk id="19" creationId="{00000000-0000-0000-0000-000000000000}"/>
          </ac:spMkLst>
        </pc:spChg>
        <pc:spChg chg="mod">
          <ac:chgData name="Vernekar, SHEETAL" userId="S::sheetal.vernekar@honeywell.com::882e04e4-92eb-446d-813b-c1c53e02a47b" providerId="AD" clId="Web-{1318C916-1266-4351-8F88-806F2E330032}" dt="2020-07-29T07:03:52.306" v="73" actId="20577"/>
          <ac:spMkLst>
            <pc:docMk/>
            <pc:sldMk cId="1783841439" sldId="397"/>
            <ac:spMk id="20" creationId="{00000000-0000-0000-0000-000000000000}"/>
          </ac:spMkLst>
        </pc:spChg>
      </pc:sldChg>
    </pc:docChg>
  </pc:docChgLst>
  <pc:docChgLst>
    <pc:chgData name="Pandey, Ritvik" userId="S::ritvik.pandey@honeywell.com::aa3a3568-d05e-4c17-8352-5616d00f28b0" providerId="AD" clId="Web-{C3816DFC-11D5-499E-BC9E-9E9B6C05C5C1}"/>
    <pc:docChg chg="addSld delSld addMainMaster delMainMaster modSection">
      <pc:chgData name="Pandey, Ritvik" userId="S::ritvik.pandey@honeywell.com::aa3a3568-d05e-4c17-8352-5616d00f28b0" providerId="AD" clId="Web-{C3816DFC-11D5-499E-BC9E-9E9B6C05C5C1}" dt="2020-07-28T19:26:36.289" v="11"/>
      <pc:docMkLst>
        <pc:docMk/>
      </pc:docMkLst>
      <pc:sldChg chg="add del">
        <pc:chgData name="Pandey, Ritvik" userId="S::ritvik.pandey@honeywell.com::aa3a3568-d05e-4c17-8352-5616d00f28b0" providerId="AD" clId="Web-{C3816DFC-11D5-499E-BC9E-9E9B6C05C5C1}" dt="2020-07-28T19:26:31.445" v="7"/>
        <pc:sldMkLst>
          <pc:docMk/>
          <pc:sldMk cId="2589604817" sldId="395"/>
        </pc:sldMkLst>
      </pc:sldChg>
      <pc:sldChg chg="add">
        <pc:chgData name="Pandey, Ritvik" userId="S::ritvik.pandey@honeywell.com::aa3a3568-d05e-4c17-8352-5616d00f28b0" providerId="AD" clId="Web-{C3816DFC-11D5-499E-BC9E-9E9B6C05C5C1}" dt="2020-07-28T19:26:35.914" v="8"/>
        <pc:sldMkLst>
          <pc:docMk/>
          <pc:sldMk cId="3268502131" sldId="395"/>
        </pc:sldMkLst>
      </pc:sldChg>
      <pc:sldChg chg="add">
        <pc:chgData name="Pandey, Ritvik" userId="S::ritvik.pandey@honeywell.com::aa3a3568-d05e-4c17-8352-5616d00f28b0" providerId="AD" clId="Web-{C3816DFC-11D5-499E-BC9E-9E9B6C05C5C1}" dt="2020-07-28T19:26:36.023" v="9"/>
        <pc:sldMkLst>
          <pc:docMk/>
          <pc:sldMk cId="671222689" sldId="396"/>
        </pc:sldMkLst>
      </pc:sldChg>
      <pc:sldChg chg="add del">
        <pc:chgData name="Pandey, Ritvik" userId="S::ritvik.pandey@honeywell.com::aa3a3568-d05e-4c17-8352-5616d00f28b0" providerId="AD" clId="Web-{C3816DFC-11D5-499E-BC9E-9E9B6C05C5C1}" dt="2020-07-28T19:26:31.399" v="6"/>
        <pc:sldMkLst>
          <pc:docMk/>
          <pc:sldMk cId="3236446006" sldId="396"/>
        </pc:sldMkLst>
      </pc:sldChg>
      <pc:sldChg chg="add">
        <pc:chgData name="Pandey, Ritvik" userId="S::ritvik.pandey@honeywell.com::aa3a3568-d05e-4c17-8352-5616d00f28b0" providerId="AD" clId="Web-{C3816DFC-11D5-499E-BC9E-9E9B6C05C5C1}" dt="2020-07-28T19:26:36.148" v="10"/>
        <pc:sldMkLst>
          <pc:docMk/>
          <pc:sldMk cId="1783841439" sldId="397"/>
        </pc:sldMkLst>
      </pc:sldChg>
      <pc:sldChg chg="add del">
        <pc:chgData name="Pandey, Ritvik" userId="S::ritvik.pandey@honeywell.com::aa3a3568-d05e-4c17-8352-5616d00f28b0" providerId="AD" clId="Web-{C3816DFC-11D5-499E-BC9E-9E9B6C05C5C1}" dt="2020-07-28T19:26:31.383" v="5"/>
        <pc:sldMkLst>
          <pc:docMk/>
          <pc:sldMk cId="2082692467" sldId="397"/>
        </pc:sldMkLst>
      </pc:sldChg>
      <pc:sldChg chg="add del">
        <pc:chgData name="Pandey, Ritvik" userId="S::ritvik.pandey@honeywell.com::aa3a3568-d05e-4c17-8352-5616d00f28b0" providerId="AD" clId="Web-{C3816DFC-11D5-499E-BC9E-9E9B6C05C5C1}" dt="2020-07-28T19:26:31.367" v="4"/>
        <pc:sldMkLst>
          <pc:docMk/>
          <pc:sldMk cId="1499492216" sldId="398"/>
        </pc:sldMkLst>
      </pc:sldChg>
      <pc:sldChg chg="add">
        <pc:chgData name="Pandey, Ritvik" userId="S::ritvik.pandey@honeywell.com::aa3a3568-d05e-4c17-8352-5616d00f28b0" providerId="AD" clId="Web-{C3816DFC-11D5-499E-BC9E-9E9B6C05C5C1}" dt="2020-07-28T19:26:36.289" v="11"/>
        <pc:sldMkLst>
          <pc:docMk/>
          <pc:sldMk cId="3213675078" sldId="398"/>
        </pc:sldMkLst>
      </pc:sldChg>
      <pc:sldMasterChg chg="add del addSldLayout delSldLayout">
        <pc:chgData name="Pandey, Ritvik" userId="S::ritvik.pandey@honeywell.com::aa3a3568-d05e-4c17-8352-5616d00f28b0" providerId="AD" clId="Web-{C3816DFC-11D5-499E-BC9E-9E9B6C05C5C1}" dt="2020-07-28T19:26:35.914" v="8"/>
        <pc:sldMasterMkLst>
          <pc:docMk/>
          <pc:sldMasterMk cId="1961464670" sldId="2147483711"/>
        </pc:sldMasterMkLst>
        <pc:sldLayoutChg chg="add del">
          <pc:chgData name="Pandey, Ritvik" userId="S::ritvik.pandey@honeywell.com::aa3a3568-d05e-4c17-8352-5616d00f28b0" providerId="AD" clId="Web-{C3816DFC-11D5-499E-BC9E-9E9B6C05C5C1}" dt="2020-07-28T19:26:35.914" v="8"/>
          <pc:sldLayoutMkLst>
            <pc:docMk/>
            <pc:sldMasterMk cId="1961464670" sldId="2147483711"/>
            <pc:sldLayoutMk cId="12219993" sldId="2147483712"/>
          </pc:sldLayoutMkLst>
        </pc:sldLayoutChg>
        <pc:sldLayoutChg chg="add del">
          <pc:chgData name="Pandey, Ritvik" userId="S::ritvik.pandey@honeywell.com::aa3a3568-d05e-4c17-8352-5616d00f28b0" providerId="AD" clId="Web-{C3816DFC-11D5-499E-BC9E-9E9B6C05C5C1}" dt="2020-07-28T19:26:35.914" v="8"/>
          <pc:sldLayoutMkLst>
            <pc:docMk/>
            <pc:sldMasterMk cId="1961464670" sldId="2147483711"/>
            <pc:sldLayoutMk cId="97142302" sldId="2147483713"/>
          </pc:sldLayoutMkLst>
        </pc:sldLayoutChg>
        <pc:sldLayoutChg chg="add del">
          <pc:chgData name="Pandey, Ritvik" userId="S::ritvik.pandey@honeywell.com::aa3a3568-d05e-4c17-8352-5616d00f28b0" providerId="AD" clId="Web-{C3816DFC-11D5-499E-BC9E-9E9B6C05C5C1}" dt="2020-07-28T19:26:35.914" v="8"/>
          <pc:sldLayoutMkLst>
            <pc:docMk/>
            <pc:sldMasterMk cId="1961464670" sldId="2147483711"/>
            <pc:sldLayoutMk cId="2891771046" sldId="2147483714"/>
          </pc:sldLayoutMkLst>
        </pc:sldLayoutChg>
        <pc:sldLayoutChg chg="add del">
          <pc:chgData name="Pandey, Ritvik" userId="S::ritvik.pandey@honeywell.com::aa3a3568-d05e-4c17-8352-5616d00f28b0" providerId="AD" clId="Web-{C3816DFC-11D5-499E-BC9E-9E9B6C05C5C1}" dt="2020-07-28T19:26:35.914" v="8"/>
          <pc:sldLayoutMkLst>
            <pc:docMk/>
            <pc:sldMasterMk cId="1961464670" sldId="2147483711"/>
            <pc:sldLayoutMk cId="2484029443" sldId="2147483715"/>
          </pc:sldLayoutMkLst>
        </pc:sldLayoutChg>
        <pc:sldLayoutChg chg="add del">
          <pc:chgData name="Pandey, Ritvik" userId="S::ritvik.pandey@honeywell.com::aa3a3568-d05e-4c17-8352-5616d00f28b0" providerId="AD" clId="Web-{C3816DFC-11D5-499E-BC9E-9E9B6C05C5C1}" dt="2020-07-28T19:26:35.914" v="8"/>
          <pc:sldLayoutMkLst>
            <pc:docMk/>
            <pc:sldMasterMk cId="1961464670" sldId="2147483711"/>
            <pc:sldLayoutMk cId="244629717" sldId="2147483716"/>
          </pc:sldLayoutMkLst>
        </pc:sldLayoutChg>
        <pc:sldLayoutChg chg="add del">
          <pc:chgData name="Pandey, Ritvik" userId="S::ritvik.pandey@honeywell.com::aa3a3568-d05e-4c17-8352-5616d00f28b0" providerId="AD" clId="Web-{C3816DFC-11D5-499E-BC9E-9E9B6C05C5C1}" dt="2020-07-28T19:26:35.914" v="8"/>
          <pc:sldLayoutMkLst>
            <pc:docMk/>
            <pc:sldMasterMk cId="1961464670" sldId="2147483711"/>
            <pc:sldLayoutMk cId="3340088116" sldId="2147483717"/>
          </pc:sldLayoutMkLst>
        </pc:sldLayoutChg>
      </pc:sldMasterChg>
    </pc:docChg>
  </pc:docChgLst>
  <pc:docChgLst>
    <pc:chgData name="Vernekar, SHEETAL" userId="S::sheetal.vernekar@honeywell.com::882e04e4-92eb-446d-813b-c1c53e02a47b" providerId="AD" clId="Web-{346ADF6B-0419-48E5-B350-80C143FA0055}"/>
    <pc:docChg chg="delSld modSection">
      <pc:chgData name="Vernekar, SHEETAL" userId="S::sheetal.vernekar@honeywell.com::882e04e4-92eb-446d-813b-c1c53e02a47b" providerId="AD" clId="Web-{346ADF6B-0419-48E5-B350-80C143FA0055}" dt="2020-07-29T10:58:09.970" v="0"/>
      <pc:docMkLst>
        <pc:docMk/>
      </pc:docMkLst>
      <pc:sldChg chg="del">
        <pc:chgData name="Vernekar, SHEETAL" userId="S::sheetal.vernekar@honeywell.com::882e04e4-92eb-446d-813b-c1c53e02a47b" providerId="AD" clId="Web-{346ADF6B-0419-48E5-B350-80C143FA0055}" dt="2020-07-29T10:58:09.970" v="0"/>
        <pc:sldMkLst>
          <pc:docMk/>
          <pc:sldMk cId="3425045668" sldId="392"/>
        </pc:sldMkLst>
      </pc:sldChg>
    </pc:docChg>
  </pc:docChgLst>
  <pc:docChgLst>
    <pc:chgData name="Vernekar, SHEETAL" userId="S::sheetal.vernekar@honeywell.com::882e04e4-92eb-446d-813b-c1c53e02a47b" providerId="AD" clId="Web-{9042CCB0-4486-4C07-AE02-60EA4C72FE3B}"/>
    <pc:docChg chg="modSld">
      <pc:chgData name="Vernekar, SHEETAL" userId="S::sheetal.vernekar@honeywell.com::882e04e4-92eb-446d-813b-c1c53e02a47b" providerId="AD" clId="Web-{9042CCB0-4486-4C07-AE02-60EA4C72FE3B}" dt="2020-07-29T10:33:35.961" v="345" actId="20577"/>
      <pc:docMkLst>
        <pc:docMk/>
      </pc:docMkLst>
      <pc:sldChg chg="addSp modSp">
        <pc:chgData name="Vernekar, SHEETAL" userId="S::sheetal.vernekar@honeywell.com::882e04e4-92eb-446d-813b-c1c53e02a47b" providerId="AD" clId="Web-{9042CCB0-4486-4C07-AE02-60EA4C72FE3B}" dt="2020-07-29T10:25:49.129" v="87" actId="14100"/>
        <pc:sldMkLst>
          <pc:docMk/>
          <pc:sldMk cId="2038585014" sldId="359"/>
        </pc:sldMkLst>
        <pc:spChg chg="mod">
          <ac:chgData name="Vernekar, SHEETAL" userId="S::sheetal.vernekar@honeywell.com::882e04e4-92eb-446d-813b-c1c53e02a47b" providerId="AD" clId="Web-{9042CCB0-4486-4C07-AE02-60EA4C72FE3B}" dt="2020-07-29T10:17:00.631" v="2"/>
          <ac:spMkLst>
            <pc:docMk/>
            <pc:sldMk cId="2038585014" sldId="359"/>
            <ac:spMk id="6" creationId="{26E0694A-89F1-42A7-944C-3D88DC36F63F}"/>
          </ac:spMkLst>
        </pc:spChg>
        <pc:spChg chg="mod">
          <ac:chgData name="Vernekar, SHEETAL" userId="S::sheetal.vernekar@honeywell.com::882e04e4-92eb-446d-813b-c1c53e02a47b" providerId="AD" clId="Web-{9042CCB0-4486-4C07-AE02-60EA4C72FE3B}" dt="2020-07-29T10:18:30.510" v="43" actId="20577"/>
          <ac:spMkLst>
            <pc:docMk/>
            <pc:sldMk cId="2038585014" sldId="359"/>
            <ac:spMk id="16" creationId="{2E5059F6-087B-42C4-83BA-515AB13A251B}"/>
          </ac:spMkLst>
        </pc:spChg>
        <pc:spChg chg="mod">
          <ac:chgData name="Vernekar, SHEETAL" userId="S::sheetal.vernekar@honeywell.com::882e04e4-92eb-446d-813b-c1c53e02a47b" providerId="AD" clId="Web-{9042CCB0-4486-4C07-AE02-60EA4C72FE3B}" dt="2020-07-29T10:18:01.727" v="23" actId="20577"/>
          <ac:spMkLst>
            <pc:docMk/>
            <pc:sldMk cId="2038585014" sldId="359"/>
            <ac:spMk id="17" creationId="{3B745A91-8A68-4BBA-B8E1-E6E683AF3061}"/>
          </ac:spMkLst>
        </pc:spChg>
        <pc:spChg chg="mod">
          <ac:chgData name="Vernekar, SHEETAL" userId="S::sheetal.vernekar@honeywell.com::882e04e4-92eb-446d-813b-c1c53e02a47b" providerId="AD" clId="Web-{9042CCB0-4486-4C07-AE02-60EA4C72FE3B}" dt="2020-07-29T10:17:12.896" v="3"/>
          <ac:spMkLst>
            <pc:docMk/>
            <pc:sldMk cId="2038585014" sldId="359"/>
            <ac:spMk id="21" creationId="{27CB8127-6788-4BEA-9CED-FF956F003658}"/>
          </ac:spMkLst>
        </pc:spChg>
        <pc:spChg chg="mod">
          <ac:chgData name="Vernekar, SHEETAL" userId="S::sheetal.vernekar@honeywell.com::882e04e4-92eb-446d-813b-c1c53e02a47b" providerId="AD" clId="Web-{9042CCB0-4486-4C07-AE02-60EA4C72FE3B}" dt="2020-07-29T10:17:18.006" v="4"/>
          <ac:spMkLst>
            <pc:docMk/>
            <pc:sldMk cId="2038585014" sldId="359"/>
            <ac:spMk id="24" creationId="{4C968BCB-4900-4575-A44C-3F7F86E2B57F}"/>
          </ac:spMkLst>
        </pc:spChg>
        <pc:spChg chg="mod">
          <ac:chgData name="Vernekar, SHEETAL" userId="S::sheetal.vernekar@honeywell.com::882e04e4-92eb-446d-813b-c1c53e02a47b" providerId="AD" clId="Web-{9042CCB0-4486-4C07-AE02-60EA4C72FE3B}" dt="2020-07-29T10:17:23.647" v="5"/>
          <ac:spMkLst>
            <pc:docMk/>
            <pc:sldMk cId="2038585014" sldId="359"/>
            <ac:spMk id="25" creationId="{4C31C1F6-8451-4DE1-A735-F2A31C1FF247}"/>
          </ac:spMkLst>
        </pc:spChg>
        <pc:picChg chg="add mod">
          <ac:chgData name="Vernekar, SHEETAL" userId="S::sheetal.vernekar@honeywell.com::882e04e4-92eb-446d-813b-c1c53e02a47b" providerId="AD" clId="Web-{9042CCB0-4486-4C07-AE02-60EA4C72FE3B}" dt="2020-07-29T10:25:49.129" v="87" actId="14100"/>
          <ac:picMkLst>
            <pc:docMk/>
            <pc:sldMk cId="2038585014" sldId="359"/>
            <ac:picMk id="7" creationId="{F5CBBDEF-7DB7-4E78-8CAA-07C85D34204D}"/>
          </ac:picMkLst>
        </pc:picChg>
      </pc:sldChg>
      <pc:sldChg chg="addSp modSp">
        <pc:chgData name="Vernekar, SHEETAL" userId="S::sheetal.vernekar@honeywell.com::882e04e4-92eb-446d-813b-c1c53e02a47b" providerId="AD" clId="Web-{9042CCB0-4486-4C07-AE02-60EA4C72FE3B}" dt="2020-07-29T10:21:53.176" v="83" actId="1076"/>
        <pc:sldMkLst>
          <pc:docMk/>
          <pc:sldMk cId="3268502131" sldId="395"/>
        </pc:sldMkLst>
        <pc:spChg chg="mod">
          <ac:chgData name="Vernekar, SHEETAL" userId="S::sheetal.vernekar@honeywell.com::882e04e4-92eb-446d-813b-c1c53e02a47b" providerId="AD" clId="Web-{9042CCB0-4486-4C07-AE02-60EA4C72FE3B}" dt="2020-07-29T10:21:20.065" v="73" actId="14100"/>
          <ac:spMkLst>
            <pc:docMk/>
            <pc:sldMk cId="3268502131" sldId="395"/>
            <ac:spMk id="11" creationId="{AA6A2497-D06D-43AD-AC3D-8001F53739AD}"/>
          </ac:spMkLst>
        </pc:spChg>
        <pc:spChg chg="add mod">
          <ac:chgData name="Vernekar, SHEETAL" userId="S::sheetal.vernekar@honeywell.com::882e04e4-92eb-446d-813b-c1c53e02a47b" providerId="AD" clId="Web-{9042CCB0-4486-4C07-AE02-60EA4C72FE3B}" dt="2020-07-29T10:21:53.176" v="83" actId="1076"/>
          <ac:spMkLst>
            <pc:docMk/>
            <pc:sldMk cId="3268502131" sldId="395"/>
            <ac:spMk id="13" creationId="{A58A1996-5DDB-4D8C-819D-508CA041E1E4}"/>
          </ac:spMkLst>
        </pc:spChg>
      </pc:sldChg>
      <pc:sldChg chg="modSp">
        <pc:chgData name="Vernekar, SHEETAL" userId="S::sheetal.vernekar@honeywell.com::882e04e4-92eb-446d-813b-c1c53e02a47b" providerId="AD" clId="Web-{9042CCB0-4486-4C07-AE02-60EA4C72FE3B}" dt="2020-07-29T10:33:33.414" v="343" actId="20577"/>
        <pc:sldMkLst>
          <pc:docMk/>
          <pc:sldMk cId="1783841439" sldId="397"/>
        </pc:sldMkLst>
        <pc:spChg chg="mod">
          <ac:chgData name="Vernekar, SHEETAL" userId="S::sheetal.vernekar@honeywell.com::882e04e4-92eb-446d-813b-c1c53e02a47b" providerId="AD" clId="Web-{9042CCB0-4486-4C07-AE02-60EA4C72FE3B}" dt="2020-07-29T10:33:33.414" v="343" actId="20577"/>
          <ac:spMkLst>
            <pc:docMk/>
            <pc:sldMk cId="1783841439" sldId="397"/>
            <ac:spMk id="6" creationId="{8F213431-3595-4067-9395-6FF883C79B00}"/>
          </ac:spMkLst>
        </pc:spChg>
        <pc:spChg chg="mod">
          <ac:chgData name="Vernekar, SHEETAL" userId="S::sheetal.vernekar@honeywell.com::882e04e4-92eb-446d-813b-c1c53e02a47b" providerId="AD" clId="Web-{9042CCB0-4486-4C07-AE02-60EA4C72FE3B}" dt="2020-07-29T10:31:23.829" v="243" actId="20577"/>
          <ac:spMkLst>
            <pc:docMk/>
            <pc:sldMk cId="1783841439" sldId="397"/>
            <ac:spMk id="14" creationId="{00000000-0000-0000-0000-000000000000}"/>
          </ac:spMkLst>
        </pc:spChg>
        <pc:spChg chg="mod">
          <ac:chgData name="Vernekar, SHEETAL" userId="S::sheetal.vernekar@honeywell.com::882e04e4-92eb-446d-813b-c1c53e02a47b" providerId="AD" clId="Web-{9042CCB0-4486-4C07-AE02-60EA4C72FE3B}" dt="2020-07-29T10:29:47.075" v="206" actId="1076"/>
          <ac:spMkLst>
            <pc:docMk/>
            <pc:sldMk cId="1783841439" sldId="397"/>
            <ac:spMk id="19" creationId="{00000000-0000-0000-0000-000000000000}"/>
          </ac:spMkLst>
        </pc:spChg>
      </pc:sldChg>
    </pc:docChg>
  </pc:docChgLst>
  <pc:docChgLst>
    <pc:chgData name="Vernekar, SHEETAL" userId="S::sheetal.vernekar@honeywell.com::882e04e4-92eb-446d-813b-c1c53e02a47b" providerId="AD" clId="Web-{A7863BD4-96DF-4642-A2D9-18221A6D0D05}"/>
    <pc:docChg chg="modSld">
      <pc:chgData name="Vernekar, SHEETAL" userId="S::sheetal.vernekar@honeywell.com::882e04e4-92eb-446d-813b-c1c53e02a47b" providerId="AD" clId="Web-{A7863BD4-96DF-4642-A2D9-18221A6D0D05}" dt="2020-07-29T09:13:08.409" v="68" actId="20577"/>
      <pc:docMkLst>
        <pc:docMk/>
      </pc:docMkLst>
      <pc:sldChg chg="modSp">
        <pc:chgData name="Vernekar, SHEETAL" userId="S::sheetal.vernekar@honeywell.com::882e04e4-92eb-446d-813b-c1c53e02a47b" providerId="AD" clId="Web-{A7863BD4-96DF-4642-A2D9-18221A6D0D05}" dt="2020-07-29T09:10:40.547" v="33" actId="14100"/>
        <pc:sldMkLst>
          <pc:docMk/>
          <pc:sldMk cId="2038585014" sldId="359"/>
        </pc:sldMkLst>
        <pc:spChg chg="mod">
          <ac:chgData name="Vernekar, SHEETAL" userId="S::sheetal.vernekar@honeywell.com::882e04e4-92eb-446d-813b-c1c53e02a47b" providerId="AD" clId="Web-{A7863BD4-96DF-4642-A2D9-18221A6D0D05}" dt="2020-07-29T09:10:40.547" v="33" actId="14100"/>
          <ac:spMkLst>
            <pc:docMk/>
            <pc:sldMk cId="2038585014" sldId="359"/>
            <ac:spMk id="16" creationId="{2E5059F6-087B-42C4-83BA-515AB13A251B}"/>
          </ac:spMkLst>
        </pc:spChg>
      </pc:sldChg>
      <pc:sldChg chg="addSp modSp">
        <pc:chgData name="Vernekar, SHEETAL" userId="S::sheetal.vernekar@honeywell.com::882e04e4-92eb-446d-813b-c1c53e02a47b" providerId="AD" clId="Web-{A7863BD4-96DF-4642-A2D9-18221A6D0D05}" dt="2020-07-29T09:13:08.409" v="68" actId="20577"/>
        <pc:sldMkLst>
          <pc:docMk/>
          <pc:sldMk cId="1783841439" sldId="397"/>
        </pc:sldMkLst>
        <pc:spChg chg="add mod">
          <ac:chgData name="Vernekar, SHEETAL" userId="S::sheetal.vernekar@honeywell.com::882e04e4-92eb-446d-813b-c1c53e02a47b" providerId="AD" clId="Web-{A7863BD4-96DF-4642-A2D9-18221A6D0D05}" dt="2020-07-29T09:12:06.736" v="58" actId="1076"/>
          <ac:spMkLst>
            <pc:docMk/>
            <pc:sldMk cId="1783841439" sldId="397"/>
            <ac:spMk id="6" creationId="{8F213431-3595-4067-9395-6FF883C79B00}"/>
          </ac:spMkLst>
        </pc:spChg>
        <pc:spChg chg="mod">
          <ac:chgData name="Vernekar, SHEETAL" userId="S::sheetal.vernekar@honeywell.com::882e04e4-92eb-446d-813b-c1c53e02a47b" providerId="AD" clId="Web-{A7863BD4-96DF-4642-A2D9-18221A6D0D05}" dt="2020-07-29T09:13:08.409" v="68" actId="20577"/>
          <ac:spMkLst>
            <pc:docMk/>
            <pc:sldMk cId="1783841439" sldId="397"/>
            <ac:spMk id="9" creationId="{13684E5A-F00A-4250-BA27-4DA2B7AD0A45}"/>
          </ac:spMkLst>
        </pc:spChg>
        <pc:picChg chg="add mod">
          <ac:chgData name="Vernekar, SHEETAL" userId="S::sheetal.vernekar@honeywell.com::882e04e4-92eb-446d-813b-c1c53e02a47b" providerId="AD" clId="Web-{A7863BD4-96DF-4642-A2D9-18221A6D0D05}" dt="2020-07-29T08:55:15.907" v="20" actId="14100"/>
          <ac:picMkLst>
            <pc:docMk/>
            <pc:sldMk cId="1783841439" sldId="397"/>
            <ac:picMk id="5" creationId="{F0059BAD-C061-4C1B-968A-797FA24CED95}"/>
          </ac:picMkLst>
        </pc:picChg>
      </pc:sldChg>
    </pc:docChg>
  </pc:docChgLst>
  <pc:docChgLst>
    <pc:chgData name="Vernekar, SHEETAL" userId="S::sheetal.vernekar@honeywell.com::882e04e4-92eb-446d-813b-c1c53e02a47b" providerId="AD" clId="Web-{29E9A071-CECB-4482-8070-45500A965BE5}"/>
    <pc:docChg chg="modSld">
      <pc:chgData name="Vernekar, SHEETAL" userId="S::sheetal.vernekar@honeywell.com::882e04e4-92eb-446d-813b-c1c53e02a47b" providerId="AD" clId="Web-{29E9A071-CECB-4482-8070-45500A965BE5}" dt="2020-07-29T06:35:53.951" v="34" actId="20577"/>
      <pc:docMkLst>
        <pc:docMk/>
      </pc:docMkLst>
      <pc:sldChg chg="modSp">
        <pc:chgData name="Vernekar, SHEETAL" userId="S::sheetal.vernekar@honeywell.com::882e04e4-92eb-446d-813b-c1c53e02a47b" providerId="AD" clId="Web-{29E9A071-CECB-4482-8070-45500A965BE5}" dt="2020-07-29T06:35:53.951" v="34" actId="20577"/>
        <pc:sldMkLst>
          <pc:docMk/>
          <pc:sldMk cId="2038585014" sldId="359"/>
        </pc:sldMkLst>
        <pc:spChg chg="mod">
          <ac:chgData name="Vernekar, SHEETAL" userId="S::sheetal.vernekar@honeywell.com::882e04e4-92eb-446d-813b-c1c53e02a47b" providerId="AD" clId="Web-{29E9A071-CECB-4482-8070-45500A965BE5}" dt="2020-07-29T06:33:44.357" v="0" actId="20577"/>
          <ac:spMkLst>
            <pc:docMk/>
            <pc:sldMk cId="2038585014" sldId="359"/>
            <ac:spMk id="9" creationId="{0B73EE59-9AA8-4FBE-8BDD-E5B2303EAA82}"/>
          </ac:spMkLst>
        </pc:spChg>
        <pc:spChg chg="mod">
          <ac:chgData name="Vernekar, SHEETAL" userId="S::sheetal.vernekar@honeywell.com::882e04e4-92eb-446d-813b-c1c53e02a47b" providerId="AD" clId="Web-{29E9A071-CECB-4482-8070-45500A965BE5}" dt="2020-07-29T06:34:32.466" v="7" actId="20577"/>
          <ac:spMkLst>
            <pc:docMk/>
            <pc:sldMk cId="2038585014" sldId="359"/>
            <ac:spMk id="11" creationId="{19F2242A-139A-4988-B9DD-E5D5F4BE7FBE}"/>
          </ac:spMkLst>
        </pc:spChg>
        <pc:spChg chg="mod">
          <ac:chgData name="Vernekar, SHEETAL" userId="S::sheetal.vernekar@honeywell.com::882e04e4-92eb-446d-813b-c1c53e02a47b" providerId="AD" clId="Web-{29E9A071-CECB-4482-8070-45500A965BE5}" dt="2020-07-29T06:34:48.872" v="9" actId="20577"/>
          <ac:spMkLst>
            <pc:docMk/>
            <pc:sldMk cId="2038585014" sldId="359"/>
            <ac:spMk id="14" creationId="{46C01003-1E89-497E-829A-8F1C1718C38F}"/>
          </ac:spMkLst>
        </pc:spChg>
        <pc:spChg chg="mod">
          <ac:chgData name="Vernekar, SHEETAL" userId="S::sheetal.vernekar@honeywell.com::882e04e4-92eb-446d-813b-c1c53e02a47b" providerId="AD" clId="Web-{29E9A071-CECB-4482-8070-45500A965BE5}" dt="2020-07-29T06:35:53.951" v="34" actId="20577"/>
          <ac:spMkLst>
            <pc:docMk/>
            <pc:sldMk cId="2038585014" sldId="359"/>
            <ac:spMk id="16" creationId="{2E5059F6-087B-42C4-83BA-515AB13A251B}"/>
          </ac:spMkLst>
        </pc:spChg>
        <pc:spChg chg="mod">
          <ac:chgData name="Vernekar, SHEETAL" userId="S::sheetal.vernekar@honeywell.com::882e04e4-92eb-446d-813b-c1c53e02a47b" providerId="AD" clId="Web-{29E9A071-CECB-4482-8070-45500A965BE5}" dt="2020-07-29T06:35:13.841" v="12" actId="20577"/>
          <ac:spMkLst>
            <pc:docMk/>
            <pc:sldMk cId="2038585014" sldId="359"/>
            <ac:spMk id="17" creationId="{3B745A91-8A68-4BBA-B8E1-E6E683AF3061}"/>
          </ac:spMkLst>
        </pc:spChg>
      </pc:sldChg>
      <pc:sldChg chg="modSp">
        <pc:chgData name="Vernekar, SHEETAL" userId="S::sheetal.vernekar@honeywell.com::882e04e4-92eb-446d-813b-c1c53e02a47b" providerId="AD" clId="Web-{29E9A071-CECB-4482-8070-45500A965BE5}" dt="2020-07-29T06:35:40.232" v="30" actId="20577"/>
        <pc:sldMkLst>
          <pc:docMk/>
          <pc:sldMk cId="1783841439" sldId="397"/>
        </pc:sldMkLst>
        <pc:spChg chg="mod">
          <ac:chgData name="Vernekar, SHEETAL" userId="S::sheetal.vernekar@honeywell.com::882e04e4-92eb-446d-813b-c1c53e02a47b" providerId="AD" clId="Web-{29E9A071-CECB-4482-8070-45500A965BE5}" dt="2020-07-29T06:35:40.232" v="30" actId="20577"/>
          <ac:spMkLst>
            <pc:docMk/>
            <pc:sldMk cId="1783841439" sldId="397"/>
            <ac:spMk id="14" creationId="{00000000-0000-0000-0000-000000000000}"/>
          </ac:spMkLst>
        </pc:spChg>
      </pc:sldChg>
    </pc:docChg>
  </pc:docChgLst>
  <pc:docChgLst>
    <pc:chgData name="Vernekar, SHEETAL" userId="S::sheetal.vernekar@honeywell.com::882e04e4-92eb-446d-813b-c1c53e02a47b" providerId="AD" clId="Web-{2AB09AE5-74F2-4C9A-8A77-85AE0BF4E4BC}"/>
    <pc:docChg chg="modSld sldOrd modSection">
      <pc:chgData name="Vernekar, SHEETAL" userId="S::sheetal.vernekar@honeywell.com::882e04e4-92eb-446d-813b-c1c53e02a47b" providerId="AD" clId="Web-{2AB09AE5-74F2-4C9A-8A77-85AE0BF4E4BC}" dt="2020-07-29T05:02:46.797" v="65" actId="20577"/>
      <pc:docMkLst>
        <pc:docMk/>
      </pc:docMkLst>
      <pc:sldChg chg="modSp">
        <pc:chgData name="Vernekar, SHEETAL" userId="S::sheetal.vernekar@honeywell.com::882e04e4-92eb-446d-813b-c1c53e02a47b" providerId="AD" clId="Web-{2AB09AE5-74F2-4C9A-8A77-85AE0BF4E4BC}" dt="2020-07-29T05:02:46.797" v="65" actId="20577"/>
        <pc:sldMkLst>
          <pc:docMk/>
          <pc:sldMk cId="2286894306" sldId="285"/>
        </pc:sldMkLst>
        <pc:spChg chg="mod">
          <ac:chgData name="Vernekar, SHEETAL" userId="S::sheetal.vernekar@honeywell.com::882e04e4-92eb-446d-813b-c1c53e02a47b" providerId="AD" clId="Web-{2AB09AE5-74F2-4C9A-8A77-85AE0BF4E4BC}" dt="2020-07-29T05:02:46.797" v="65" actId="20577"/>
          <ac:spMkLst>
            <pc:docMk/>
            <pc:sldMk cId="2286894306" sldId="285"/>
            <ac:spMk id="10" creationId="{0F83C94E-5865-4A39-B49C-66C22701D95C}"/>
          </ac:spMkLst>
        </pc:spChg>
      </pc:sldChg>
      <pc:sldChg chg="addSp delSp ord">
        <pc:chgData name="Vernekar, SHEETAL" userId="S::sheetal.vernekar@honeywell.com::882e04e4-92eb-446d-813b-c1c53e02a47b" providerId="AD" clId="Web-{2AB09AE5-74F2-4C9A-8A77-85AE0BF4E4BC}" dt="2020-07-29T05:00:00.244" v="16"/>
        <pc:sldMkLst>
          <pc:docMk/>
          <pc:sldMk cId="3213675078" sldId="398"/>
        </pc:sldMkLst>
        <pc:picChg chg="add del">
          <ac:chgData name="Vernekar, SHEETAL" userId="S::sheetal.vernekar@honeywell.com::882e04e4-92eb-446d-813b-c1c53e02a47b" providerId="AD" clId="Web-{2AB09AE5-74F2-4C9A-8A77-85AE0BF4E4BC}" dt="2020-07-29T04:57:37.160" v="1"/>
          <ac:picMkLst>
            <pc:docMk/>
            <pc:sldMk cId="3213675078" sldId="398"/>
            <ac:picMk id="15" creationId="{065A6DD1-975A-4CF4-88C1-44A01D4051E0}"/>
          </ac:picMkLst>
        </pc:picChg>
      </pc:sldChg>
    </pc:docChg>
  </pc:docChgLst>
  <pc:docChgLst>
    <pc:chgData name="Vernekar, SHEETAL" userId="S::sheetal.vernekar@honeywell.com::882e04e4-92eb-446d-813b-c1c53e02a47b" providerId="AD" clId="Web-{EB5E175C-F281-48C4-BAE0-CF665C774791}"/>
    <pc:docChg chg="delSld modSld modSection">
      <pc:chgData name="Vernekar, SHEETAL" userId="S::sheetal.vernekar@honeywell.com::882e04e4-92eb-446d-813b-c1c53e02a47b" providerId="AD" clId="Web-{EB5E175C-F281-48C4-BAE0-CF665C774791}" dt="2020-07-29T05:55:44.149" v="401" actId="1076"/>
      <pc:docMkLst>
        <pc:docMk/>
      </pc:docMkLst>
      <pc:sldChg chg="addSp delSp modSp">
        <pc:chgData name="Vernekar, SHEETAL" userId="S::sheetal.vernekar@honeywell.com::882e04e4-92eb-446d-813b-c1c53e02a47b" providerId="AD" clId="Web-{EB5E175C-F281-48C4-BAE0-CF665C774791}" dt="2020-07-29T05:55:44.149" v="401" actId="1076"/>
        <pc:sldMkLst>
          <pc:docMk/>
          <pc:sldMk cId="3268502131" sldId="395"/>
        </pc:sldMkLst>
        <pc:spChg chg="del">
          <ac:chgData name="Vernekar, SHEETAL" userId="S::sheetal.vernekar@honeywell.com::882e04e4-92eb-446d-813b-c1c53e02a47b" providerId="AD" clId="Web-{EB5E175C-F281-48C4-BAE0-CF665C774791}" dt="2020-07-29T05:51:48.211" v="389"/>
          <ac:spMkLst>
            <pc:docMk/>
            <pc:sldMk cId="3268502131" sldId="395"/>
            <ac:spMk id="9" creationId="{0A39A335-B23E-455E-8344-270A57D6C73D}"/>
          </ac:spMkLst>
        </pc:spChg>
        <pc:spChg chg="mod">
          <ac:chgData name="Vernekar, SHEETAL" userId="S::sheetal.vernekar@honeywell.com::882e04e4-92eb-446d-813b-c1c53e02a47b" providerId="AD" clId="Web-{EB5E175C-F281-48C4-BAE0-CF665C774791}" dt="2020-07-29T05:55:14.743" v="396" actId="14100"/>
          <ac:spMkLst>
            <pc:docMk/>
            <pc:sldMk cId="3268502131" sldId="395"/>
            <ac:spMk id="10" creationId="{172549B3-844E-4CDE-98BE-A53B406FCB58}"/>
          </ac:spMkLst>
        </pc:spChg>
        <pc:spChg chg="add mod">
          <ac:chgData name="Vernekar, SHEETAL" userId="S::sheetal.vernekar@honeywell.com::882e04e4-92eb-446d-813b-c1c53e02a47b" providerId="AD" clId="Web-{EB5E175C-F281-48C4-BAE0-CF665C774791}" dt="2020-07-29T05:55:38.212" v="400" actId="1076"/>
          <ac:spMkLst>
            <pc:docMk/>
            <pc:sldMk cId="3268502131" sldId="395"/>
            <ac:spMk id="11" creationId="{AA6A2497-D06D-43AD-AC3D-8001F53739AD}"/>
          </ac:spMkLst>
        </pc:spChg>
        <pc:spChg chg="del">
          <ac:chgData name="Vernekar, SHEETAL" userId="S::sheetal.vernekar@honeywell.com::882e04e4-92eb-446d-813b-c1c53e02a47b" providerId="AD" clId="Web-{EB5E175C-F281-48C4-BAE0-CF665C774791}" dt="2020-07-29T05:55:08.587" v="395"/>
          <ac:spMkLst>
            <pc:docMk/>
            <pc:sldMk cId="3268502131" sldId="395"/>
            <ac:spMk id="13" creationId="{4BCEA491-D113-404F-ADFD-F282784D98DC}"/>
          </ac:spMkLst>
        </pc:spChg>
        <pc:spChg chg="add del mod">
          <ac:chgData name="Vernekar, SHEETAL" userId="S::sheetal.vernekar@honeywell.com::882e04e4-92eb-446d-813b-c1c53e02a47b" providerId="AD" clId="Web-{EB5E175C-F281-48C4-BAE0-CF665C774791}" dt="2020-07-29T05:52:10.102" v="391"/>
          <ac:spMkLst>
            <pc:docMk/>
            <pc:sldMk cId="3268502131" sldId="395"/>
            <ac:spMk id="16" creationId="{EC93FD2D-CBCC-442C-BE62-5BC660230F1C}"/>
          </ac:spMkLst>
        </pc:spChg>
        <pc:picChg chg="del">
          <ac:chgData name="Vernekar, SHEETAL" userId="S::sheetal.vernekar@honeywell.com::882e04e4-92eb-446d-813b-c1c53e02a47b" providerId="AD" clId="Web-{EB5E175C-F281-48C4-BAE0-CF665C774791}" dt="2020-07-29T05:29:15.181" v="333"/>
          <ac:picMkLst>
            <pc:docMk/>
            <pc:sldMk cId="3268502131" sldId="395"/>
            <ac:picMk id="5" creationId="{E1D2B0AA-2979-4E4A-9F4A-9BBB517DD1D7}"/>
          </ac:picMkLst>
        </pc:picChg>
        <pc:picChg chg="add mod">
          <ac:chgData name="Vernekar, SHEETAL" userId="S::sheetal.vernekar@honeywell.com::882e04e4-92eb-446d-813b-c1c53e02a47b" providerId="AD" clId="Web-{EB5E175C-F281-48C4-BAE0-CF665C774791}" dt="2020-07-29T05:55:44.149" v="401" actId="1076"/>
          <ac:picMkLst>
            <pc:docMk/>
            <pc:sldMk cId="3268502131" sldId="395"/>
            <ac:picMk id="6" creationId="{12D8B213-7B0E-42AA-B624-C016441FEBB7}"/>
          </ac:picMkLst>
        </pc:picChg>
        <pc:picChg chg="add mod">
          <ac:chgData name="Vernekar, SHEETAL" userId="S::sheetal.vernekar@honeywell.com::882e04e4-92eb-446d-813b-c1c53e02a47b" providerId="AD" clId="Web-{EB5E175C-F281-48C4-BAE0-CF665C774791}" dt="2020-07-29T05:51:04.836" v="378" actId="1076"/>
          <ac:picMkLst>
            <pc:docMk/>
            <pc:sldMk cId="3268502131" sldId="395"/>
            <ac:picMk id="8" creationId="{6365258B-F260-4991-B26E-97E23E47EE7D}"/>
          </ac:picMkLst>
        </pc:picChg>
        <pc:picChg chg="del">
          <ac:chgData name="Vernekar, SHEETAL" userId="S::sheetal.vernekar@honeywell.com::882e04e4-92eb-446d-813b-c1c53e02a47b" providerId="AD" clId="Web-{EB5E175C-F281-48C4-BAE0-CF665C774791}" dt="2020-07-29T05:29:17.270" v="334"/>
          <ac:picMkLst>
            <pc:docMk/>
            <pc:sldMk cId="3268502131" sldId="395"/>
            <ac:picMk id="15" creationId="{9745C66C-0FB2-4591-944E-A6BA00DA2EAD}"/>
          </ac:picMkLst>
        </pc:picChg>
        <pc:picChg chg="add mod">
          <ac:chgData name="Vernekar, SHEETAL" userId="S::sheetal.vernekar@honeywell.com::882e04e4-92eb-446d-813b-c1c53e02a47b" providerId="AD" clId="Web-{EB5E175C-F281-48C4-BAE0-CF665C774791}" dt="2020-07-29T05:54:53.196" v="394" actId="14100"/>
          <ac:picMkLst>
            <pc:docMk/>
            <pc:sldMk cId="3268502131" sldId="395"/>
            <ac:picMk id="18" creationId="{F943224F-7C2F-412C-8BD2-08667B03F47F}"/>
          </ac:picMkLst>
        </pc:picChg>
      </pc:sldChg>
      <pc:sldChg chg="modSp del">
        <pc:chgData name="Vernekar, SHEETAL" userId="S::sheetal.vernekar@honeywell.com::882e04e4-92eb-446d-813b-c1c53e02a47b" providerId="AD" clId="Web-{EB5E175C-F281-48C4-BAE0-CF665C774791}" dt="2020-07-29T05:25:23.645" v="321"/>
        <pc:sldMkLst>
          <pc:docMk/>
          <pc:sldMk cId="671222689" sldId="396"/>
        </pc:sldMkLst>
        <pc:spChg chg="mod">
          <ac:chgData name="Vernekar, SHEETAL" userId="S::sheetal.vernekar@honeywell.com::882e04e4-92eb-446d-813b-c1c53e02a47b" providerId="AD" clId="Web-{EB5E175C-F281-48C4-BAE0-CF665C774791}" dt="2020-07-29T05:24:11.972" v="234" actId="20577"/>
          <ac:spMkLst>
            <pc:docMk/>
            <pc:sldMk cId="671222689" sldId="396"/>
            <ac:spMk id="3" creationId="{64D5EE48-EE08-4D89-AC25-923735F324D4}"/>
          </ac:spMkLst>
        </pc:spChg>
        <pc:spChg chg="mod">
          <ac:chgData name="Vernekar, SHEETAL" userId="S::sheetal.vernekar@honeywell.com::882e04e4-92eb-446d-813b-c1c53e02a47b" providerId="AD" clId="Web-{EB5E175C-F281-48C4-BAE0-CF665C774791}" dt="2020-07-29T05:21:13.519" v="182" actId="20577"/>
          <ac:spMkLst>
            <pc:docMk/>
            <pc:sldMk cId="671222689" sldId="396"/>
            <ac:spMk id="16" creationId="{668A1BF7-5485-4173-B2F0-233B4B10D8A6}"/>
          </ac:spMkLst>
        </pc:spChg>
      </pc:sldChg>
      <pc:sldChg chg="addSp delSp modSp">
        <pc:chgData name="Vernekar, SHEETAL" userId="S::sheetal.vernekar@honeywell.com::882e04e4-92eb-446d-813b-c1c53e02a47b" providerId="AD" clId="Web-{EB5E175C-F281-48C4-BAE0-CF665C774791}" dt="2020-07-29T05:27:38.770" v="332" actId="14100"/>
        <pc:sldMkLst>
          <pc:docMk/>
          <pc:sldMk cId="1783841439" sldId="397"/>
        </pc:sldMkLst>
        <pc:spChg chg="mod">
          <ac:chgData name="Vernekar, SHEETAL" userId="S::sheetal.vernekar@honeywell.com::882e04e4-92eb-446d-813b-c1c53e02a47b" providerId="AD" clId="Web-{EB5E175C-F281-48C4-BAE0-CF665C774791}" dt="2020-07-29T05:11:36.455" v="14" actId="20577"/>
          <ac:spMkLst>
            <pc:docMk/>
            <pc:sldMk cId="1783841439" sldId="397"/>
            <ac:spMk id="9" creationId="{13684E5A-F00A-4250-BA27-4DA2B7AD0A45}"/>
          </ac:spMkLst>
        </pc:spChg>
        <pc:spChg chg="mod">
          <ac:chgData name="Vernekar, SHEETAL" userId="S::sheetal.vernekar@honeywell.com::882e04e4-92eb-446d-813b-c1c53e02a47b" providerId="AD" clId="Web-{EB5E175C-F281-48C4-BAE0-CF665C774791}" dt="2020-07-29T05:11:54.158" v="25" actId="20577"/>
          <ac:spMkLst>
            <pc:docMk/>
            <pc:sldMk cId="1783841439" sldId="397"/>
            <ac:spMk id="13" creationId="{00000000-0000-0000-0000-000000000000}"/>
          </ac:spMkLst>
        </pc:spChg>
        <pc:spChg chg="mod">
          <ac:chgData name="Vernekar, SHEETAL" userId="S::sheetal.vernekar@honeywell.com::882e04e4-92eb-446d-813b-c1c53e02a47b" providerId="AD" clId="Web-{EB5E175C-F281-48C4-BAE0-CF665C774791}" dt="2020-07-29T05:25:15.754" v="320" actId="20577"/>
          <ac:spMkLst>
            <pc:docMk/>
            <pc:sldMk cId="1783841439" sldId="397"/>
            <ac:spMk id="14" creationId="{00000000-0000-0000-0000-000000000000}"/>
          </ac:spMkLst>
        </pc:spChg>
        <pc:spChg chg="mod">
          <ac:chgData name="Vernekar, SHEETAL" userId="S::sheetal.vernekar@honeywell.com::882e04e4-92eb-446d-813b-c1c53e02a47b" providerId="AD" clId="Web-{EB5E175C-F281-48C4-BAE0-CF665C774791}" dt="2020-07-29T05:12:07.424" v="36" actId="20577"/>
          <ac:spMkLst>
            <pc:docMk/>
            <pc:sldMk cId="1783841439" sldId="397"/>
            <ac:spMk id="19" creationId="{00000000-0000-0000-0000-000000000000}"/>
          </ac:spMkLst>
        </pc:spChg>
        <pc:spChg chg="mod">
          <ac:chgData name="Vernekar, SHEETAL" userId="S::sheetal.vernekar@honeywell.com::882e04e4-92eb-446d-813b-c1c53e02a47b" providerId="AD" clId="Web-{EB5E175C-F281-48C4-BAE0-CF665C774791}" dt="2020-07-29T05:21:24.738" v="185" actId="20577"/>
          <ac:spMkLst>
            <pc:docMk/>
            <pc:sldMk cId="1783841439" sldId="397"/>
            <ac:spMk id="20" creationId="{00000000-0000-0000-0000-000000000000}"/>
          </ac:spMkLst>
        </pc:spChg>
        <pc:spChg chg="mod">
          <ac:chgData name="Vernekar, SHEETAL" userId="S::sheetal.vernekar@honeywell.com::882e04e4-92eb-446d-813b-c1c53e02a47b" providerId="AD" clId="Web-{EB5E175C-F281-48C4-BAE0-CF665C774791}" dt="2020-07-29T05:14:23.987" v="44" actId="20577"/>
          <ac:spMkLst>
            <pc:docMk/>
            <pc:sldMk cId="1783841439" sldId="397"/>
            <ac:spMk id="21" creationId="{00000000-0000-0000-0000-000000000000}"/>
          </ac:spMkLst>
        </pc:spChg>
        <pc:spChg chg="mod">
          <ac:chgData name="Vernekar, SHEETAL" userId="S::sheetal.vernekar@honeywell.com::882e04e4-92eb-446d-813b-c1c53e02a47b" providerId="AD" clId="Web-{EB5E175C-F281-48C4-BAE0-CF665C774791}" dt="2020-07-29T05:27:03.973" v="328" actId="20577"/>
          <ac:spMkLst>
            <pc:docMk/>
            <pc:sldMk cId="1783841439" sldId="397"/>
            <ac:spMk id="22" creationId="{00000000-0000-0000-0000-000000000000}"/>
          </ac:spMkLst>
        </pc:spChg>
        <pc:picChg chg="add mod">
          <ac:chgData name="Vernekar, SHEETAL" userId="S::sheetal.vernekar@honeywell.com::882e04e4-92eb-446d-813b-c1c53e02a47b" providerId="AD" clId="Web-{EB5E175C-F281-48C4-BAE0-CF665C774791}" dt="2020-07-29T05:27:38.770" v="332" actId="14100"/>
          <ac:picMkLst>
            <pc:docMk/>
            <pc:sldMk cId="1783841439" sldId="397"/>
            <ac:picMk id="5" creationId="{2E53D888-4BA2-48CC-8C0C-A35575D1D42F}"/>
          </ac:picMkLst>
        </pc:picChg>
        <pc:picChg chg="add del">
          <ac:chgData name="Vernekar, SHEETAL" userId="S::sheetal.vernekar@honeywell.com::882e04e4-92eb-446d-813b-c1c53e02a47b" providerId="AD" clId="Web-{EB5E175C-F281-48C4-BAE0-CF665C774791}" dt="2020-07-29T05:14:57.690" v="53"/>
          <ac:picMkLst>
            <pc:docMk/>
            <pc:sldMk cId="1783841439" sldId="397"/>
            <ac:picMk id="12" creationId="{F09E452B-CC7C-4085-A5C0-73442810E3CF}"/>
          </ac:picMkLst>
        </pc:picChg>
        <pc:picChg chg="del">
          <ac:chgData name="Vernekar, SHEETAL" userId="S::sheetal.vernekar@honeywell.com::882e04e4-92eb-446d-813b-c1c53e02a47b" providerId="AD" clId="Web-{EB5E175C-F281-48C4-BAE0-CF665C774791}" dt="2020-07-29T05:20:21.378" v="167"/>
          <ac:picMkLst>
            <pc:docMk/>
            <pc:sldMk cId="1783841439" sldId="397"/>
            <ac:picMk id="15" creationId="{DB61C891-500F-47C3-B166-17ACCAAAEFE1}"/>
          </ac:picMkLst>
        </pc:picChg>
      </pc:sldChg>
    </pc:docChg>
  </pc:docChgLst>
  <pc:docChgLst>
    <pc:chgData name="Rawal, Naman (Flight Systems)" userId="f999dfcb-a7c9-4a43-be07-b12cad900164" providerId="ADAL" clId="{DBCD87AA-A45A-48F4-B129-4E6F081446FD}"/>
    <pc:docChg chg="addSld modSld">
      <pc:chgData name="Rawal, Naman (Flight Systems)" userId="f999dfcb-a7c9-4a43-be07-b12cad900164" providerId="ADAL" clId="{DBCD87AA-A45A-48F4-B129-4E6F081446FD}" dt="2020-07-30T05:15:50.282" v="320" actId="20577"/>
      <pc:docMkLst>
        <pc:docMk/>
      </pc:docMkLst>
      <pc:sldChg chg="modSp">
        <pc:chgData name="Rawal, Naman (Flight Systems)" userId="f999dfcb-a7c9-4a43-be07-b12cad900164" providerId="ADAL" clId="{DBCD87AA-A45A-48F4-B129-4E6F081446FD}" dt="2020-07-30T05:15:50.282" v="320" actId="20577"/>
        <pc:sldMkLst>
          <pc:docMk/>
          <pc:sldMk cId="1783841439" sldId="397"/>
        </pc:sldMkLst>
        <pc:spChg chg="mod">
          <ac:chgData name="Rawal, Naman (Flight Systems)" userId="f999dfcb-a7c9-4a43-be07-b12cad900164" providerId="ADAL" clId="{DBCD87AA-A45A-48F4-B129-4E6F081446FD}" dt="2020-07-30T05:15:31.403" v="289" actId="20577"/>
          <ac:spMkLst>
            <pc:docMk/>
            <pc:sldMk cId="1783841439" sldId="397"/>
            <ac:spMk id="6" creationId="{8F213431-3595-4067-9395-6FF883C79B00}"/>
          </ac:spMkLst>
        </pc:spChg>
        <pc:spChg chg="mod">
          <ac:chgData name="Rawal, Naman (Flight Systems)" userId="f999dfcb-a7c9-4a43-be07-b12cad900164" providerId="ADAL" clId="{DBCD87AA-A45A-48F4-B129-4E6F081446FD}" dt="2020-07-30T05:15:50.282" v="320" actId="20577"/>
          <ac:spMkLst>
            <pc:docMk/>
            <pc:sldMk cId="1783841439" sldId="397"/>
            <ac:spMk id="14" creationId="{00000000-0000-0000-0000-000000000000}"/>
          </ac:spMkLst>
        </pc:spChg>
      </pc:sldChg>
      <pc:sldChg chg="addSp delSp modSp add">
        <pc:chgData name="Rawal, Naman (Flight Systems)" userId="f999dfcb-a7c9-4a43-be07-b12cad900164" providerId="ADAL" clId="{DBCD87AA-A45A-48F4-B129-4E6F081446FD}" dt="2020-07-30T05:00:14.228" v="260" actId="20577"/>
        <pc:sldMkLst>
          <pc:docMk/>
          <pc:sldMk cId="2907615791" sldId="434"/>
        </pc:sldMkLst>
        <pc:spChg chg="del">
          <ac:chgData name="Rawal, Naman (Flight Systems)" userId="f999dfcb-a7c9-4a43-be07-b12cad900164" providerId="ADAL" clId="{DBCD87AA-A45A-48F4-B129-4E6F081446FD}" dt="2020-07-30T04:54:55.921" v="1"/>
          <ac:spMkLst>
            <pc:docMk/>
            <pc:sldMk cId="2907615791" sldId="434"/>
            <ac:spMk id="2" creationId="{277758DC-52AB-456B-BA9F-082B6F70FD0D}"/>
          </ac:spMkLst>
        </pc:spChg>
        <pc:spChg chg="del">
          <ac:chgData name="Rawal, Naman (Flight Systems)" userId="f999dfcb-a7c9-4a43-be07-b12cad900164" providerId="ADAL" clId="{DBCD87AA-A45A-48F4-B129-4E6F081446FD}" dt="2020-07-30T04:54:55.921" v="1"/>
          <ac:spMkLst>
            <pc:docMk/>
            <pc:sldMk cId="2907615791" sldId="434"/>
            <ac:spMk id="3" creationId="{5FC2233C-2967-4C0E-B0E9-8065756927FD}"/>
          </ac:spMkLst>
        </pc:spChg>
        <pc:spChg chg="del">
          <ac:chgData name="Rawal, Naman (Flight Systems)" userId="f999dfcb-a7c9-4a43-be07-b12cad900164" providerId="ADAL" clId="{DBCD87AA-A45A-48F4-B129-4E6F081446FD}" dt="2020-07-30T04:54:55.921" v="1"/>
          <ac:spMkLst>
            <pc:docMk/>
            <pc:sldMk cId="2907615791" sldId="434"/>
            <ac:spMk id="5" creationId="{B4663D53-A0DD-4E36-85E1-0EB0CA195290}"/>
          </ac:spMkLst>
        </pc:spChg>
        <pc:spChg chg="del">
          <ac:chgData name="Rawal, Naman (Flight Systems)" userId="f999dfcb-a7c9-4a43-be07-b12cad900164" providerId="ADAL" clId="{DBCD87AA-A45A-48F4-B129-4E6F081446FD}" dt="2020-07-30T04:54:55.921" v="1"/>
          <ac:spMkLst>
            <pc:docMk/>
            <pc:sldMk cId="2907615791" sldId="434"/>
            <ac:spMk id="6" creationId="{9290C34E-EDE2-4B35-961C-11A1F4CDF5A2}"/>
          </ac:spMkLst>
        </pc:spChg>
        <pc:spChg chg="add mod">
          <ac:chgData name="Rawal, Naman (Flight Systems)" userId="f999dfcb-a7c9-4a43-be07-b12cad900164" providerId="ADAL" clId="{DBCD87AA-A45A-48F4-B129-4E6F081446FD}" dt="2020-07-30T04:55:05.359" v="12" actId="20577"/>
          <ac:spMkLst>
            <pc:docMk/>
            <pc:sldMk cId="2907615791" sldId="434"/>
            <ac:spMk id="7" creationId="{6823B7CC-95C6-42D7-A9C5-B57C46668F6A}"/>
          </ac:spMkLst>
        </pc:spChg>
        <pc:spChg chg="add mod">
          <ac:chgData name="Rawal, Naman (Flight Systems)" userId="f999dfcb-a7c9-4a43-be07-b12cad900164" providerId="ADAL" clId="{DBCD87AA-A45A-48F4-B129-4E6F081446FD}" dt="2020-07-30T04:56:50.033" v="216" actId="20577"/>
          <ac:spMkLst>
            <pc:docMk/>
            <pc:sldMk cId="2907615791" sldId="434"/>
            <ac:spMk id="8" creationId="{F8D77185-A724-44FA-AB5B-1B19C3638A51}"/>
          </ac:spMkLst>
        </pc:spChg>
        <pc:spChg chg="add mod">
          <ac:chgData name="Rawal, Naman (Flight Systems)" userId="f999dfcb-a7c9-4a43-be07-b12cad900164" providerId="ADAL" clId="{DBCD87AA-A45A-48F4-B129-4E6F081446FD}" dt="2020-07-30T05:00:14.228" v="260" actId="20577"/>
          <ac:spMkLst>
            <pc:docMk/>
            <pc:sldMk cId="2907615791" sldId="434"/>
            <ac:spMk id="9" creationId="{F91807E2-6A49-41C6-8CF6-D671A23353B5}"/>
          </ac:spMkLst>
        </pc:spChg>
        <pc:picChg chg="add mod">
          <ac:chgData name="Rawal, Naman (Flight Systems)" userId="f999dfcb-a7c9-4a43-be07-b12cad900164" providerId="ADAL" clId="{DBCD87AA-A45A-48F4-B129-4E6F081446FD}" dt="2020-07-30T05:00:00.884" v="219" actId="14100"/>
          <ac:picMkLst>
            <pc:docMk/>
            <pc:sldMk cId="2907615791" sldId="434"/>
            <ac:picMk id="10" creationId="{3FBB4232-9452-42B1-9387-2607BF755C7E}"/>
          </ac:picMkLst>
        </pc:picChg>
      </pc:sldChg>
    </pc:docChg>
  </pc:docChgLst>
  <pc:docChgLst>
    <pc:chgData name="Pandey, Ritvik" userId="S::ritvik.pandey@honeywell.com::aa3a3568-d05e-4c17-8352-5616d00f28b0" providerId="AD" clId="Web-{3B45BEAD-4B73-4892-AFB4-B2E60CF9C7F4}"/>
    <pc:docChg chg="addSld modSld modSection">
      <pc:chgData name="Pandey, Ritvik" userId="S::ritvik.pandey@honeywell.com::aa3a3568-d05e-4c17-8352-5616d00f28b0" providerId="AD" clId="Web-{3B45BEAD-4B73-4892-AFB4-B2E60CF9C7F4}" dt="2020-07-28T19:45:14.634" v="118" actId="14100"/>
      <pc:docMkLst>
        <pc:docMk/>
      </pc:docMkLst>
      <pc:sldChg chg="addSp delSp modSp add replId">
        <pc:chgData name="Pandey, Ritvik" userId="S::ritvik.pandey@honeywell.com::aa3a3568-d05e-4c17-8352-5616d00f28b0" providerId="AD" clId="Web-{3B45BEAD-4B73-4892-AFB4-B2E60CF9C7F4}" dt="2020-07-28T19:40:27.148" v="10"/>
        <pc:sldMkLst>
          <pc:docMk/>
          <pc:sldMk cId="3439635959" sldId="399"/>
        </pc:sldMkLst>
        <pc:spChg chg="mod">
          <ac:chgData name="Pandey, Ritvik" userId="S::ritvik.pandey@honeywell.com::aa3a3568-d05e-4c17-8352-5616d00f28b0" providerId="AD" clId="Web-{3B45BEAD-4B73-4892-AFB4-B2E60CF9C7F4}" dt="2020-07-28T19:40:21.195" v="7" actId="20577"/>
          <ac:spMkLst>
            <pc:docMk/>
            <pc:sldMk cId="3439635959" sldId="399"/>
            <ac:spMk id="2" creationId="{C8C59A88-40BC-498F-A496-230917BC7A1C}"/>
          </ac:spMkLst>
        </pc:spChg>
        <pc:picChg chg="add del mod">
          <ac:chgData name="Pandey, Ritvik" userId="S::ritvik.pandey@honeywell.com::aa3a3568-d05e-4c17-8352-5616d00f28b0" providerId="AD" clId="Web-{3B45BEAD-4B73-4892-AFB4-B2E60CF9C7F4}" dt="2020-07-28T19:40:27.148" v="10"/>
          <ac:picMkLst>
            <pc:docMk/>
            <pc:sldMk cId="3439635959" sldId="399"/>
            <ac:picMk id="3" creationId="{4AEEBCA4-1B1E-452E-9B4F-B46B65ECF4FC}"/>
          </ac:picMkLst>
        </pc:picChg>
      </pc:sldChg>
      <pc:sldChg chg="addSp delSp modSp add replId">
        <pc:chgData name="Pandey, Ritvik" userId="S::ritvik.pandey@honeywell.com::aa3a3568-d05e-4c17-8352-5616d00f28b0" providerId="AD" clId="Web-{3B45BEAD-4B73-4892-AFB4-B2E60CF9C7F4}" dt="2020-07-28T19:45:14.634" v="118" actId="14100"/>
        <pc:sldMkLst>
          <pc:docMk/>
          <pc:sldMk cId="510352184" sldId="400"/>
        </pc:sldMkLst>
        <pc:spChg chg="del">
          <ac:chgData name="Pandey, Ritvik" userId="S::ritvik.pandey@honeywell.com::aa3a3568-d05e-4c17-8352-5616d00f28b0" providerId="AD" clId="Web-{3B45BEAD-4B73-4892-AFB4-B2E60CF9C7F4}" dt="2020-07-28T19:42:49.977" v="14"/>
          <ac:spMkLst>
            <pc:docMk/>
            <pc:sldMk cId="510352184" sldId="400"/>
            <ac:spMk id="2" creationId="{651026BF-AF86-449B-92E9-2911C16FC156}"/>
          </ac:spMkLst>
        </pc:spChg>
        <pc:spChg chg="add del mod">
          <ac:chgData name="Pandey, Ritvik" userId="S::ritvik.pandey@honeywell.com::aa3a3568-d05e-4c17-8352-5616d00f28b0" providerId="AD" clId="Web-{3B45BEAD-4B73-4892-AFB4-B2E60CF9C7F4}" dt="2020-07-28T19:42:41.539" v="13"/>
          <ac:spMkLst>
            <pc:docMk/>
            <pc:sldMk cId="510352184" sldId="400"/>
            <ac:spMk id="8" creationId="{090D0FC1-D0B4-4CFC-91CA-BC89A47982CB}"/>
          </ac:spMkLst>
        </pc:spChg>
        <pc:spChg chg="add del mod">
          <ac:chgData name="Pandey, Ritvik" userId="S::ritvik.pandey@honeywell.com::aa3a3568-d05e-4c17-8352-5616d00f28b0" providerId="AD" clId="Web-{3B45BEAD-4B73-4892-AFB4-B2E60CF9C7F4}" dt="2020-07-28T19:43:08.961" v="15"/>
          <ac:spMkLst>
            <pc:docMk/>
            <pc:sldMk cId="510352184" sldId="400"/>
            <ac:spMk id="10" creationId="{2B021C08-D84B-49D2-BF53-23339F996B95}"/>
          </ac:spMkLst>
        </pc:spChg>
        <pc:spChg chg="add mod">
          <ac:chgData name="Pandey, Ritvik" userId="S::ritvik.pandey@honeywell.com::aa3a3568-d05e-4c17-8352-5616d00f28b0" providerId="AD" clId="Web-{3B45BEAD-4B73-4892-AFB4-B2E60CF9C7F4}" dt="2020-07-28T19:43:54.071" v="55" actId="20577"/>
          <ac:spMkLst>
            <pc:docMk/>
            <pc:sldMk cId="510352184" sldId="400"/>
            <ac:spMk id="11" creationId="{EFB91C17-6A17-47FF-974F-E0E5B04C8968}"/>
          </ac:spMkLst>
        </pc:spChg>
        <pc:spChg chg="del">
          <ac:chgData name="Pandey, Ritvik" userId="S::ritvik.pandey@honeywell.com::aa3a3568-d05e-4c17-8352-5616d00f28b0" providerId="AD" clId="Web-{3B45BEAD-4B73-4892-AFB4-B2E60CF9C7F4}" dt="2020-07-28T19:42:36.008" v="12"/>
          <ac:spMkLst>
            <pc:docMk/>
            <pc:sldMk cId="510352184" sldId="400"/>
            <ac:spMk id="12" creationId="{33680D53-60DD-467D-BEC9-3253DC350631}"/>
          </ac:spMkLst>
        </pc:spChg>
        <pc:spChg chg="add del mod">
          <ac:chgData name="Pandey, Ritvik" userId="S::ritvik.pandey@honeywell.com::aa3a3568-d05e-4c17-8352-5616d00f28b0" providerId="AD" clId="Web-{3B45BEAD-4B73-4892-AFB4-B2E60CF9C7F4}" dt="2020-07-28T19:44:22.212" v="57"/>
          <ac:spMkLst>
            <pc:docMk/>
            <pc:sldMk cId="510352184" sldId="400"/>
            <ac:spMk id="16" creationId="{B47110C6-B14A-428E-A801-87A1BA061DDF}"/>
          </ac:spMkLst>
        </pc:spChg>
        <pc:spChg chg="add mod">
          <ac:chgData name="Pandey, Ritvik" userId="S::ritvik.pandey@honeywell.com::aa3a3568-d05e-4c17-8352-5616d00f28b0" providerId="AD" clId="Web-{3B45BEAD-4B73-4892-AFB4-B2E60CF9C7F4}" dt="2020-07-28T19:45:04.243" v="116"/>
          <ac:spMkLst>
            <pc:docMk/>
            <pc:sldMk cId="510352184" sldId="400"/>
            <ac:spMk id="17" creationId="{B1FE251C-450C-469A-8E89-A437E9FC8996}"/>
          </ac:spMkLst>
        </pc:spChg>
        <pc:spChg chg="add mod">
          <ac:chgData name="Pandey, Ritvik" userId="S::ritvik.pandey@honeywell.com::aa3a3568-d05e-4c17-8352-5616d00f28b0" providerId="AD" clId="Web-{3B45BEAD-4B73-4892-AFB4-B2E60CF9C7F4}" dt="2020-07-28T19:45:14.634" v="118" actId="14100"/>
          <ac:spMkLst>
            <pc:docMk/>
            <pc:sldMk cId="510352184" sldId="400"/>
            <ac:spMk id="18" creationId="{94A7BB9D-19CE-4303-A940-5AE72ACB7FFB}"/>
          </ac:spMkLst>
        </pc:spChg>
        <pc:picChg chg="del">
          <ac:chgData name="Pandey, Ritvik" userId="S::ritvik.pandey@honeywell.com::aa3a3568-d05e-4c17-8352-5616d00f28b0" providerId="AD" clId="Web-{3B45BEAD-4B73-4892-AFB4-B2E60CF9C7F4}" dt="2020-07-28T19:44:19.212" v="56"/>
          <ac:picMkLst>
            <pc:docMk/>
            <pc:sldMk cId="510352184" sldId="400"/>
            <ac:picMk id="7" creationId="{C9718C47-70B3-4B46-8D6F-6F744014404F}"/>
          </ac:picMkLst>
        </pc:picChg>
      </pc:sldChg>
    </pc:docChg>
  </pc:docChgLst>
  <pc:docChgLst>
    <pc:chgData name="Pandey, Ritvik" userId="S::ritvik.pandey@honeywell.com::aa3a3568-d05e-4c17-8352-5616d00f28b0" providerId="AD" clId="Web-{897847DA-9BE8-4C9A-A574-52180C0C60C8}"/>
    <pc:docChg chg="modSld">
      <pc:chgData name="Pandey, Ritvik" userId="S::ritvik.pandey@honeywell.com::aa3a3568-d05e-4c17-8352-5616d00f28b0" providerId="AD" clId="Web-{897847DA-9BE8-4C9A-A574-52180C0C60C8}" dt="2020-07-30T04:17:17.523" v="8" actId="1076"/>
      <pc:docMkLst>
        <pc:docMk/>
      </pc:docMkLst>
      <pc:sldChg chg="addSp delSp modSp">
        <pc:chgData name="Pandey, Ritvik" userId="S::ritvik.pandey@honeywell.com::aa3a3568-d05e-4c17-8352-5616d00f28b0" providerId="AD" clId="Web-{897847DA-9BE8-4C9A-A574-52180C0C60C8}" dt="2020-07-30T04:17:17.523" v="8" actId="1076"/>
        <pc:sldMkLst>
          <pc:docMk/>
          <pc:sldMk cId="3943475883" sldId="405"/>
        </pc:sldMkLst>
        <pc:spChg chg="mod">
          <ac:chgData name="Pandey, Ritvik" userId="S::ritvik.pandey@honeywell.com::aa3a3568-d05e-4c17-8352-5616d00f28b0" providerId="AD" clId="Web-{897847DA-9BE8-4C9A-A574-52180C0C60C8}" dt="2020-07-30T04:17:17.523" v="8" actId="1076"/>
          <ac:spMkLst>
            <pc:docMk/>
            <pc:sldMk cId="3943475883" sldId="405"/>
            <ac:spMk id="45" creationId="{66696244-30A2-4BE0-8827-5B11C052B199}"/>
          </ac:spMkLst>
        </pc:spChg>
        <pc:picChg chg="add mod">
          <ac:chgData name="Pandey, Ritvik" userId="S::ritvik.pandey@honeywell.com::aa3a3568-d05e-4c17-8352-5616d00f28b0" providerId="AD" clId="Web-{897847DA-9BE8-4C9A-A574-52180C0C60C8}" dt="2020-07-30T04:16:49.444" v="4" actId="1076"/>
          <ac:picMkLst>
            <pc:docMk/>
            <pc:sldMk cId="3943475883" sldId="405"/>
            <ac:picMk id="2" creationId="{46261FB8-AF41-4E43-91EA-34B50E821DC7}"/>
          </ac:picMkLst>
        </pc:picChg>
        <pc:picChg chg="del">
          <ac:chgData name="Pandey, Ritvik" userId="S::ritvik.pandey@honeywell.com::aa3a3568-d05e-4c17-8352-5616d00f28b0" providerId="AD" clId="Web-{897847DA-9BE8-4C9A-A574-52180C0C60C8}" dt="2020-07-30T04:16:21.662" v="0"/>
          <ac:picMkLst>
            <pc:docMk/>
            <pc:sldMk cId="3943475883" sldId="405"/>
            <ac:picMk id="31" creationId="{C6011866-C6C5-4D11-B511-0222C42C1858}"/>
          </ac:picMkLst>
        </pc:picChg>
        <pc:cxnChg chg="mod">
          <ac:chgData name="Pandey, Ritvik" userId="S::ritvik.pandey@honeywell.com::aa3a3568-d05e-4c17-8352-5616d00f28b0" providerId="AD" clId="Web-{897847DA-9BE8-4C9A-A574-52180C0C60C8}" dt="2020-07-30T04:16:54.475" v="5" actId="14100"/>
          <ac:cxnSpMkLst>
            <pc:docMk/>
            <pc:sldMk cId="3943475883" sldId="405"/>
            <ac:cxnSpMk id="7" creationId="{39CD083D-4E17-411C-9C21-A68E4400963C}"/>
          </ac:cxnSpMkLst>
        </pc:cxnChg>
        <pc:cxnChg chg="mod">
          <ac:chgData name="Pandey, Ritvik" userId="S::ritvik.pandey@honeywell.com::aa3a3568-d05e-4c17-8352-5616d00f28b0" providerId="AD" clId="Web-{897847DA-9BE8-4C9A-A574-52180C0C60C8}" dt="2020-07-30T04:17:08.585" v="7" actId="14100"/>
          <ac:cxnSpMkLst>
            <pc:docMk/>
            <pc:sldMk cId="3943475883" sldId="405"/>
            <ac:cxnSpMk id="44" creationId="{0990CE2B-C3D6-4822-B56E-E9F5ED68DDB3}"/>
          </ac:cxnSpMkLst>
        </pc:cxnChg>
      </pc:sldChg>
    </pc:docChg>
  </pc:docChgLst>
  <pc:docChgLst>
    <pc:chgData name="Vernekar, SHEETAL" userId="S::sheetal.vernekar@honeywell.com::882e04e4-92eb-446d-813b-c1c53e02a47b" providerId="AD" clId="Web-{CAA5B5D7-198C-4BAE-A933-C5A85BFED518}"/>
    <pc:docChg chg="modSld sldOrd modSection">
      <pc:chgData name="Vernekar, SHEETAL" userId="S::sheetal.vernekar@honeywell.com::882e04e4-92eb-446d-813b-c1c53e02a47b" providerId="AD" clId="Web-{CAA5B5D7-198C-4BAE-A933-C5A85BFED518}" dt="2020-07-29T06:06:20.498" v="34"/>
      <pc:docMkLst>
        <pc:docMk/>
      </pc:docMkLst>
      <pc:sldChg chg="ord">
        <pc:chgData name="Vernekar, SHEETAL" userId="S::sheetal.vernekar@honeywell.com::882e04e4-92eb-446d-813b-c1c53e02a47b" providerId="AD" clId="Web-{CAA5B5D7-198C-4BAE-A933-C5A85BFED518}" dt="2020-07-29T06:06:20.498" v="34"/>
        <pc:sldMkLst>
          <pc:docMk/>
          <pc:sldMk cId="2038585014" sldId="359"/>
        </pc:sldMkLst>
      </pc:sldChg>
      <pc:sldChg chg="addSp delSp modSp">
        <pc:chgData name="Vernekar, SHEETAL" userId="S::sheetal.vernekar@honeywell.com::882e04e4-92eb-446d-813b-c1c53e02a47b" providerId="AD" clId="Web-{CAA5B5D7-198C-4BAE-A933-C5A85BFED518}" dt="2020-07-29T06:04:44.932" v="33" actId="1076"/>
        <pc:sldMkLst>
          <pc:docMk/>
          <pc:sldMk cId="1783841439" sldId="397"/>
        </pc:sldMkLst>
        <pc:spChg chg="mod">
          <ac:chgData name="Vernekar, SHEETAL" userId="S::sheetal.vernekar@honeywell.com::882e04e4-92eb-446d-813b-c1c53e02a47b" providerId="AD" clId="Web-{CAA5B5D7-198C-4BAE-A933-C5A85BFED518}" dt="2020-07-29T06:02:33.599" v="28" actId="20577"/>
          <ac:spMkLst>
            <pc:docMk/>
            <pc:sldMk cId="1783841439" sldId="397"/>
            <ac:spMk id="14" creationId="{00000000-0000-0000-0000-000000000000}"/>
          </ac:spMkLst>
        </pc:spChg>
        <pc:spChg chg="mod">
          <ac:chgData name="Vernekar, SHEETAL" userId="S::sheetal.vernekar@honeywell.com::882e04e4-92eb-446d-813b-c1c53e02a47b" providerId="AD" clId="Web-{CAA5B5D7-198C-4BAE-A933-C5A85BFED518}" dt="2020-07-29T06:00:50.142" v="6" actId="20577"/>
          <ac:spMkLst>
            <pc:docMk/>
            <pc:sldMk cId="1783841439" sldId="397"/>
            <ac:spMk id="22" creationId="{00000000-0000-0000-0000-000000000000}"/>
          </ac:spMkLst>
        </pc:spChg>
        <pc:picChg chg="del">
          <ac:chgData name="Vernekar, SHEETAL" userId="S::sheetal.vernekar@honeywell.com::882e04e4-92eb-446d-813b-c1c53e02a47b" providerId="AD" clId="Web-{CAA5B5D7-198C-4BAE-A933-C5A85BFED518}" dt="2020-07-29T06:02:12.317" v="25"/>
          <ac:picMkLst>
            <pc:docMk/>
            <pc:sldMk cId="1783841439" sldId="397"/>
            <ac:picMk id="5" creationId="{2E53D888-4BA2-48CC-8C0C-A35575D1D42F}"/>
          </ac:picMkLst>
        </pc:picChg>
        <pc:picChg chg="add mod">
          <ac:chgData name="Vernekar, SHEETAL" userId="S::sheetal.vernekar@honeywell.com::882e04e4-92eb-446d-813b-c1c53e02a47b" providerId="AD" clId="Web-{CAA5B5D7-198C-4BAE-A933-C5A85BFED518}" dt="2020-07-29T06:04:44.932" v="33" actId="1076"/>
          <ac:picMkLst>
            <pc:docMk/>
            <pc:sldMk cId="1783841439" sldId="397"/>
            <ac:picMk id="6" creationId="{874D7037-203E-41D3-A2B8-7D532198C798}"/>
          </ac:picMkLst>
        </pc:picChg>
      </pc:sldChg>
    </pc:docChg>
  </pc:docChgLst>
  <pc:docChgLst>
    <pc:chgData name="Vernekar, SHEETAL" userId="S::sheetal.vernekar@honeywell.com::882e04e4-92eb-446d-813b-c1c53e02a47b" providerId="AD" clId="Web-{45CE2EFD-155B-40FF-8CD7-F73AAE4B6F26}"/>
    <pc:docChg chg="modSld">
      <pc:chgData name="Vernekar, SHEETAL" userId="S::sheetal.vernekar@honeywell.com::882e04e4-92eb-446d-813b-c1c53e02a47b" providerId="AD" clId="Web-{45CE2EFD-155B-40FF-8CD7-F73AAE4B6F26}" dt="2020-07-29T04:54:37.210" v="115" actId="20577"/>
      <pc:docMkLst>
        <pc:docMk/>
      </pc:docMkLst>
      <pc:sldChg chg="addSp delSp modSp">
        <pc:chgData name="Vernekar, SHEETAL" userId="S::sheetal.vernekar@honeywell.com::882e04e4-92eb-446d-813b-c1c53e02a47b" providerId="AD" clId="Web-{45CE2EFD-155B-40FF-8CD7-F73AAE4B6F26}" dt="2020-07-29T04:54:35.835" v="113" actId="20577"/>
        <pc:sldMkLst>
          <pc:docMk/>
          <pc:sldMk cId="2286894306" sldId="285"/>
        </pc:sldMkLst>
        <pc:spChg chg="mod">
          <ac:chgData name="Vernekar, SHEETAL" userId="S::sheetal.vernekar@honeywell.com::882e04e4-92eb-446d-813b-c1c53e02a47b" providerId="AD" clId="Web-{45CE2EFD-155B-40FF-8CD7-F73AAE4B6F26}" dt="2020-07-29T04:53:41.209" v="72" actId="1076"/>
          <ac:spMkLst>
            <pc:docMk/>
            <pc:sldMk cId="2286894306" sldId="285"/>
            <ac:spMk id="3" creationId="{64D5EE48-EE08-4D89-AC25-923735F324D4}"/>
          </ac:spMkLst>
        </pc:spChg>
        <pc:spChg chg="add del mod">
          <ac:chgData name="Vernekar, SHEETAL" userId="S::sheetal.vernekar@honeywell.com::882e04e4-92eb-446d-813b-c1c53e02a47b" providerId="AD" clId="Web-{45CE2EFD-155B-40FF-8CD7-F73AAE4B6F26}" dt="2020-07-29T04:30:10.238" v="1"/>
          <ac:spMkLst>
            <pc:docMk/>
            <pc:sldMk cId="2286894306" sldId="285"/>
            <ac:spMk id="7" creationId="{5C251939-A694-4D7F-A0EE-ABAC6C837CED}"/>
          </ac:spMkLst>
        </pc:spChg>
        <pc:spChg chg="mod">
          <ac:chgData name="Vernekar, SHEETAL" userId="S::sheetal.vernekar@honeywell.com::882e04e4-92eb-446d-813b-c1c53e02a47b" providerId="AD" clId="Web-{45CE2EFD-155B-40FF-8CD7-F73AAE4B6F26}" dt="2020-07-29T04:53:51.584" v="75" actId="1076"/>
          <ac:spMkLst>
            <pc:docMk/>
            <pc:sldMk cId="2286894306" sldId="285"/>
            <ac:spMk id="9" creationId="{15119A67-3C13-4465-B23F-367350CEC27A}"/>
          </ac:spMkLst>
        </pc:spChg>
        <pc:spChg chg="add del mod">
          <ac:chgData name="Vernekar, SHEETAL" userId="S::sheetal.vernekar@honeywell.com::882e04e4-92eb-446d-813b-c1c53e02a47b" providerId="AD" clId="Web-{45CE2EFD-155B-40FF-8CD7-F73AAE4B6F26}" dt="2020-07-29T04:31:42.568" v="5"/>
          <ac:spMkLst>
            <pc:docMk/>
            <pc:sldMk cId="2286894306" sldId="285"/>
            <ac:spMk id="14" creationId="{5C6A1FD9-0DD1-4C41-BB00-20765FA3CEAE}"/>
          </ac:spMkLst>
        </pc:spChg>
        <pc:spChg chg="add del mod">
          <ac:chgData name="Vernekar, SHEETAL" userId="S::sheetal.vernekar@honeywell.com::882e04e4-92eb-446d-813b-c1c53e02a47b" providerId="AD" clId="Web-{45CE2EFD-155B-40FF-8CD7-F73AAE4B6F26}" dt="2020-07-29T04:50:54.674" v="64"/>
          <ac:spMkLst>
            <pc:docMk/>
            <pc:sldMk cId="2286894306" sldId="285"/>
            <ac:spMk id="18" creationId="{0FE73023-2082-4A8D-9CB2-1B3451EDE13A}"/>
          </ac:spMkLst>
        </pc:spChg>
        <pc:spChg chg="del">
          <ac:chgData name="Vernekar, SHEETAL" userId="S::sheetal.vernekar@honeywell.com::882e04e4-92eb-446d-813b-c1c53e02a47b" providerId="AD" clId="Web-{45CE2EFD-155B-40FF-8CD7-F73AAE4B6F26}" dt="2020-07-29T04:53:21.427" v="70"/>
          <ac:spMkLst>
            <pc:docMk/>
            <pc:sldMk cId="2286894306" sldId="285"/>
            <ac:spMk id="20" creationId="{A4033FCF-1C5B-4DB8-A172-1FF26CF498A8}"/>
          </ac:spMkLst>
        </pc:spChg>
        <pc:spChg chg="add del mod">
          <ac:chgData name="Vernekar, SHEETAL" userId="S::sheetal.vernekar@honeywell.com::882e04e4-92eb-446d-813b-c1c53e02a47b" providerId="AD" clId="Web-{45CE2EFD-155B-40FF-8CD7-F73AAE4B6F26}" dt="2020-07-29T04:53:34.115" v="71"/>
          <ac:spMkLst>
            <pc:docMk/>
            <pc:sldMk cId="2286894306" sldId="285"/>
            <ac:spMk id="26" creationId="{BEA5FAF1-6EEB-4C8A-93B6-3571B3D3CF67}"/>
          </ac:spMkLst>
        </pc:spChg>
        <pc:spChg chg="add mod">
          <ac:chgData name="Vernekar, SHEETAL" userId="S::sheetal.vernekar@honeywell.com::882e04e4-92eb-446d-813b-c1c53e02a47b" providerId="AD" clId="Web-{45CE2EFD-155B-40FF-8CD7-F73AAE4B6F26}" dt="2020-07-29T04:54:35.835" v="113" actId="20577"/>
          <ac:spMkLst>
            <pc:docMk/>
            <pc:sldMk cId="2286894306" sldId="285"/>
            <ac:spMk id="27" creationId="{E15EF42E-443A-440D-B244-3CB07AF88A95}"/>
          </ac:spMkLst>
        </pc:spChg>
        <pc:picChg chg="add del mod ord modCrop">
          <ac:chgData name="Vernekar, SHEETAL" userId="S::sheetal.vernekar@honeywell.com::882e04e4-92eb-446d-813b-c1c53e02a47b" providerId="AD" clId="Web-{45CE2EFD-155B-40FF-8CD7-F73AAE4B6F26}" dt="2020-07-29T04:31:30.599" v="4"/>
          <ac:picMkLst>
            <pc:docMk/>
            <pc:sldMk cId="2286894306" sldId="285"/>
            <ac:picMk id="8" creationId="{3EF0DAD1-FFEA-4793-8EBF-01DA8A4865D6}"/>
          </ac:picMkLst>
        </pc:picChg>
        <pc:picChg chg="del">
          <ac:chgData name="Vernekar, SHEETAL" userId="S::sheetal.vernekar@honeywell.com::882e04e4-92eb-446d-813b-c1c53e02a47b" providerId="AD" clId="Web-{45CE2EFD-155B-40FF-8CD7-F73AAE4B6F26}" dt="2020-07-29T04:30:07.644" v="0"/>
          <ac:picMkLst>
            <pc:docMk/>
            <pc:sldMk cId="2286894306" sldId="285"/>
            <ac:picMk id="11" creationId="{BB38D549-8C11-4890-ABF8-01AA455E0262}"/>
          </ac:picMkLst>
        </pc:picChg>
        <pc:picChg chg="mod">
          <ac:chgData name="Vernekar, SHEETAL" userId="S::sheetal.vernekar@honeywell.com::882e04e4-92eb-446d-813b-c1c53e02a47b" providerId="AD" clId="Web-{45CE2EFD-155B-40FF-8CD7-F73AAE4B6F26}" dt="2020-07-29T04:53:46.006" v="74" actId="1076"/>
          <ac:picMkLst>
            <pc:docMk/>
            <pc:sldMk cId="2286894306" sldId="285"/>
            <ac:picMk id="12" creationId="{3A2AEC90-14AE-4CC0-9B81-01AD2B241035}"/>
          </ac:picMkLst>
        </pc:picChg>
        <pc:picChg chg="add mod ord modCrop">
          <ac:chgData name="Vernekar, SHEETAL" userId="S::sheetal.vernekar@honeywell.com::882e04e4-92eb-446d-813b-c1c53e02a47b" providerId="AD" clId="Web-{45CE2EFD-155B-40FF-8CD7-F73AAE4B6F26}" dt="2020-07-29T04:53:54.647" v="76" actId="1076"/>
          <ac:picMkLst>
            <pc:docMk/>
            <pc:sldMk cId="2286894306" sldId="285"/>
            <ac:picMk id="15" creationId="{AD96674E-6F4C-4063-98E2-A9656ABC68F8}"/>
          </ac:picMkLst>
        </pc:picChg>
        <pc:picChg chg="del">
          <ac:chgData name="Vernekar, SHEETAL" userId="S::sheetal.vernekar@honeywell.com::882e04e4-92eb-446d-813b-c1c53e02a47b" providerId="AD" clId="Web-{45CE2EFD-155B-40FF-8CD7-F73AAE4B6F26}" dt="2020-07-29T04:50:42.455" v="63"/>
          <ac:picMkLst>
            <pc:docMk/>
            <pc:sldMk cId="2286894306" sldId="285"/>
            <ac:picMk id="16" creationId="{0D7DF078-668F-4BCD-8FB3-AA851ACCBCA9}"/>
          </ac:picMkLst>
        </pc:picChg>
        <pc:picChg chg="add mod">
          <ac:chgData name="Vernekar, SHEETAL" userId="S::sheetal.vernekar@honeywell.com::882e04e4-92eb-446d-813b-c1c53e02a47b" providerId="AD" clId="Web-{45CE2EFD-155B-40FF-8CD7-F73AAE4B6F26}" dt="2020-07-29T04:54:02.944" v="77" actId="1076"/>
          <ac:picMkLst>
            <pc:docMk/>
            <pc:sldMk cId="2286894306" sldId="285"/>
            <ac:picMk id="19" creationId="{FAC456EF-D6F5-4262-889A-BA78B4B872A7}"/>
          </ac:picMkLst>
        </pc:picChg>
        <pc:picChg chg="add mod">
          <ac:chgData name="Vernekar, SHEETAL" userId="S::sheetal.vernekar@honeywell.com::882e04e4-92eb-446d-813b-c1c53e02a47b" providerId="AD" clId="Web-{45CE2EFD-155B-40FF-8CD7-F73AAE4B6F26}" dt="2020-07-29T04:54:05.397" v="78" actId="1076"/>
          <ac:picMkLst>
            <pc:docMk/>
            <pc:sldMk cId="2286894306" sldId="285"/>
            <ac:picMk id="24" creationId="{735DE27D-E081-419E-993F-0B791B778828}"/>
          </ac:picMkLst>
        </pc:picChg>
      </pc:sldChg>
    </pc:docChg>
  </pc:docChgLst>
  <pc:docChgLst>
    <pc:chgData name="Vernekar, SHEETAL" userId="S::sheetal.vernekar@honeywell.com::882e04e4-92eb-446d-813b-c1c53e02a47b" providerId="AD" clId="Web-{FD2E7A5C-D3D6-4556-9758-5209DE57ECEE}"/>
    <pc:docChg chg="modSld sldOrd modSection">
      <pc:chgData name="Vernekar, SHEETAL" userId="S::sheetal.vernekar@honeywell.com::882e04e4-92eb-446d-813b-c1c53e02a47b" providerId="AD" clId="Web-{FD2E7A5C-D3D6-4556-9758-5209DE57ECEE}" dt="2020-07-29T04:22:36.409" v="5"/>
      <pc:docMkLst>
        <pc:docMk/>
      </pc:docMkLst>
      <pc:sldChg chg="addSp delSp modSp ord">
        <pc:chgData name="Vernekar, SHEETAL" userId="S::sheetal.vernekar@honeywell.com::882e04e4-92eb-446d-813b-c1c53e02a47b" providerId="AD" clId="Web-{FD2E7A5C-D3D6-4556-9758-5209DE57ECEE}" dt="2020-07-29T04:22:36.409" v="5"/>
        <pc:sldMkLst>
          <pc:docMk/>
          <pc:sldMk cId="2286894306" sldId="285"/>
        </pc:sldMkLst>
        <pc:spChg chg="mod">
          <ac:chgData name="Vernekar, SHEETAL" userId="S::sheetal.vernekar@honeywell.com::882e04e4-92eb-446d-813b-c1c53e02a47b" providerId="AD" clId="Web-{FD2E7A5C-D3D6-4556-9758-5209DE57ECEE}" dt="2020-07-29T04:12:10.700" v="3" actId="20577"/>
          <ac:spMkLst>
            <pc:docMk/>
            <pc:sldMk cId="2286894306" sldId="285"/>
            <ac:spMk id="2" creationId="{651026BF-AF86-449B-92E9-2911C16FC156}"/>
          </ac:spMkLst>
        </pc:spChg>
        <pc:spChg chg="add del mod">
          <ac:chgData name="Vernekar, SHEETAL" userId="S::sheetal.vernekar@honeywell.com::882e04e4-92eb-446d-813b-c1c53e02a47b" providerId="AD" clId="Web-{FD2E7A5C-D3D6-4556-9758-5209DE57ECEE}" dt="2020-07-29T04:22:36.409" v="5"/>
          <ac:spMkLst>
            <pc:docMk/>
            <pc:sldMk cId="2286894306" sldId="285"/>
            <ac:spMk id="8" creationId="{9599783C-AD2A-4617-9C28-7392FC68417F}"/>
          </ac:spMkLst>
        </pc:spChg>
        <pc:picChg chg="del">
          <ac:chgData name="Vernekar, SHEETAL" userId="S::sheetal.vernekar@honeywell.com::882e04e4-92eb-446d-813b-c1c53e02a47b" providerId="AD" clId="Web-{FD2E7A5C-D3D6-4556-9758-5209DE57ECEE}" dt="2020-07-29T04:22:33.237" v="4"/>
          <ac:picMkLst>
            <pc:docMk/>
            <pc:sldMk cId="2286894306" sldId="285"/>
            <ac:picMk id="7" creationId="{C43DDEE9-C27C-46FD-9927-F682FF3D4A83}"/>
          </ac:picMkLst>
        </pc:picChg>
        <pc:picChg chg="add mod ord modCrop">
          <ac:chgData name="Vernekar, SHEETAL" userId="S::sheetal.vernekar@honeywell.com::882e04e4-92eb-446d-813b-c1c53e02a47b" providerId="AD" clId="Web-{FD2E7A5C-D3D6-4556-9758-5209DE57ECEE}" dt="2020-07-29T04:22:36.409" v="5"/>
          <ac:picMkLst>
            <pc:docMk/>
            <pc:sldMk cId="2286894306" sldId="285"/>
            <ac:picMk id="12" creationId="{3A2AEC90-14AE-4CC0-9B81-01AD2B241035}"/>
          </ac:picMkLst>
        </pc:picChg>
      </pc:sldChg>
    </pc:docChg>
  </pc:docChgLst>
  <pc:docChgLst>
    <pc:chgData name="Pandey, Ritvik" userId="S::ritvik.pandey@honeywell.com::aa3a3568-d05e-4c17-8352-5616d00f28b0" providerId="AD" clId="Web-{CAFD93F8-21E1-407F-A381-7A6DD978A900}"/>
    <pc:docChg chg="modSld">
      <pc:chgData name="Pandey, Ritvik" userId="S::ritvik.pandey@honeywell.com::aa3a3568-d05e-4c17-8352-5616d00f28b0" providerId="AD" clId="Web-{CAFD93F8-21E1-407F-A381-7A6DD978A900}" dt="2020-07-28T19:54:42.442" v="0"/>
      <pc:docMkLst>
        <pc:docMk/>
      </pc:docMkLst>
      <pc:sldChg chg="mod modShow">
        <pc:chgData name="Pandey, Ritvik" userId="S::ritvik.pandey@honeywell.com::aa3a3568-d05e-4c17-8352-5616d00f28b0" providerId="AD" clId="Web-{CAFD93F8-21E1-407F-A381-7A6DD978A900}" dt="2020-07-28T19:54:42.442" v="0"/>
        <pc:sldMkLst>
          <pc:docMk/>
          <pc:sldMk cId="510352184" sldId="400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7/30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7/3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sz="1000"/>
              <a:t>Drone movements in </a:t>
            </a:r>
            <a:r>
              <a:rPr lang="en-US" sz="1000" err="1"/>
              <a:t>Airsim</a:t>
            </a:r>
            <a:r>
              <a:rPr lang="en-US" sz="1000"/>
              <a:t> are controlled by a python module</a:t>
            </a:r>
          </a:p>
          <a:p>
            <a:pPr lvl="1"/>
            <a:r>
              <a:rPr lang="en-US" sz="1000"/>
              <a:t>Another python publisher is used to publish ground truth</a:t>
            </a:r>
          </a:p>
          <a:p>
            <a:pPr lvl="1"/>
            <a:r>
              <a:rPr lang="en-US" sz="1000" err="1"/>
              <a:t>Airsim_ros_wrapper</a:t>
            </a:r>
            <a:r>
              <a:rPr lang="en-US" sz="1000"/>
              <a:t> publishes image and IMU to VINS-Mono</a:t>
            </a:r>
          </a:p>
          <a:p>
            <a:pPr lvl="1"/>
            <a:r>
              <a:rPr lang="en-US" sz="1000"/>
              <a:t>VIO, pose graph and ground truth are gathered by RVIZ</a:t>
            </a:r>
          </a:p>
          <a:p>
            <a:endParaRPr lang="en-US" sz="10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8053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sz="1000"/>
              <a:t>Drone movements in </a:t>
            </a:r>
            <a:r>
              <a:rPr lang="en-US" sz="1000" err="1"/>
              <a:t>Airsim</a:t>
            </a:r>
            <a:r>
              <a:rPr lang="en-US" sz="1000"/>
              <a:t> are controlled by a python module</a:t>
            </a:r>
          </a:p>
          <a:p>
            <a:pPr lvl="1"/>
            <a:r>
              <a:rPr lang="en-US" sz="1000"/>
              <a:t>Another python publisher is used to publish ground truth</a:t>
            </a:r>
          </a:p>
          <a:p>
            <a:pPr lvl="1"/>
            <a:r>
              <a:rPr lang="en-US" sz="1000" err="1"/>
              <a:t>Airsim_ros_wrapper</a:t>
            </a:r>
            <a:r>
              <a:rPr lang="en-US" sz="1000"/>
              <a:t> publishes image and IMU to VINS-Mono</a:t>
            </a:r>
          </a:p>
          <a:p>
            <a:pPr lvl="1"/>
            <a:r>
              <a:rPr lang="en-US" sz="1000"/>
              <a:t>VIO, pose graph and ground truth are gathered by RVIZ</a:t>
            </a:r>
          </a:p>
          <a:p>
            <a:endParaRPr lang="en-US" sz="10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707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sz="1000"/>
              <a:t>Drone movements in </a:t>
            </a:r>
            <a:r>
              <a:rPr lang="en-US" sz="1000" err="1"/>
              <a:t>Airsim</a:t>
            </a:r>
            <a:r>
              <a:rPr lang="en-US" sz="1000"/>
              <a:t> are controlled by a python module</a:t>
            </a:r>
          </a:p>
          <a:p>
            <a:pPr lvl="1"/>
            <a:r>
              <a:rPr lang="en-US" sz="1000"/>
              <a:t>Another python publisher is used to publish ground truth</a:t>
            </a:r>
          </a:p>
          <a:p>
            <a:pPr lvl="1"/>
            <a:r>
              <a:rPr lang="en-US" sz="1000" err="1"/>
              <a:t>Airsim_ros_wrapper</a:t>
            </a:r>
            <a:r>
              <a:rPr lang="en-US" sz="1000"/>
              <a:t> publishes image and IMU to VINS-Mono</a:t>
            </a:r>
          </a:p>
          <a:p>
            <a:pPr lvl="1"/>
            <a:r>
              <a:rPr lang="en-US" sz="1000"/>
              <a:t>VIO, pose graph and ground truth are gathered by RVIZ</a:t>
            </a:r>
          </a:p>
          <a:p>
            <a:endParaRPr lang="en-US" sz="10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0055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sz="1000"/>
              <a:t>Drone movements in </a:t>
            </a:r>
            <a:r>
              <a:rPr lang="en-US" sz="1000" err="1"/>
              <a:t>Airsim</a:t>
            </a:r>
            <a:r>
              <a:rPr lang="en-US" sz="1000"/>
              <a:t> are controlled by a python module</a:t>
            </a:r>
          </a:p>
          <a:p>
            <a:pPr lvl="1"/>
            <a:r>
              <a:rPr lang="en-US" sz="1000"/>
              <a:t>Another python publisher is used to publish ground truth</a:t>
            </a:r>
          </a:p>
          <a:p>
            <a:pPr lvl="1"/>
            <a:r>
              <a:rPr lang="en-US" sz="1000" err="1"/>
              <a:t>Airsim_ros_wrapper</a:t>
            </a:r>
            <a:r>
              <a:rPr lang="en-US" sz="1000"/>
              <a:t> publishes image and IMU to VINS-Mono</a:t>
            </a:r>
          </a:p>
          <a:p>
            <a:pPr lvl="1"/>
            <a:r>
              <a:rPr lang="en-US" sz="1000"/>
              <a:t>VIO, pose graph and ground truth are gathered by RVIZ</a:t>
            </a:r>
          </a:p>
          <a:p>
            <a:endParaRPr lang="en-US" sz="10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354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fld id="{D105F950-05EE-42A4-8FEF-DE33869804CE}" type="datetime4">
              <a:rPr lang="en-US" smtClean="0"/>
              <a:t>July 30, 2020</a:t>
            </a:fld>
            <a:endParaRPr lang="en-US"/>
          </a:p>
        </p:txBody>
      </p:sp>
      <p:pic>
        <p:nvPicPr>
          <p:cNvPr id="8" name="Graphic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658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756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9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26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 userDrawn="1">
          <p15:clr>
            <a:srgbClr val="FBAE40"/>
          </p15:clr>
        </p15:guide>
        <p15:guide id="2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 userDrawn="1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29768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7473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7473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152917" y="1410881"/>
            <a:ext cx="3886234" cy="4344840"/>
            <a:chOff x="4152917" y="1410880"/>
            <a:chExt cx="3886234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5291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039151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27A3D956-E391-41FE-BC3D-8A5C91DE06B1}" type="datetime4">
              <a:rPr lang="en-US" smtClean="0"/>
              <a:t>July 30, 2020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19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182137" y="1410880"/>
            <a:ext cx="5827876" cy="4344686"/>
            <a:chOff x="3182137" y="1410880"/>
            <a:chExt cx="5827876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8213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09607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010013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0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0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6663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6663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906484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12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[Footer, 10pt Arial]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32530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495299" y="495300"/>
            <a:ext cx="6096000" cy="243759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en-US" sz="88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88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88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88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847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fld id="{D105F950-05EE-42A4-8FEF-DE33869804CE}" type="datetime4">
              <a:rPr lang="en-US" smtClean="0"/>
              <a:t>July 30, 2020</a:t>
            </a:fld>
            <a:endParaRPr lang="en-US"/>
          </a:p>
        </p:txBody>
      </p:sp>
      <p:pic>
        <p:nvPicPr>
          <p:cNvPr id="8" name="Graphic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97142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45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74170"/>
            <a:ext cx="28194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1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 userDrawn="1">
          <p15:clr>
            <a:srgbClr val="FBAE40"/>
          </p15:clr>
        </p15:guide>
        <p15:guide id="3" orient="horz" pos="1896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7710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484029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446297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3400881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700"/>
            <a:ext cx="8382000" cy="2438401"/>
          </a:xfrm>
        </p:spPr>
        <p:txBody>
          <a:bodyPr tIns="0" anchor="t"/>
          <a:lstStyle>
            <a:lvl1pPr>
              <a:lnSpc>
                <a:spcPct val="100000"/>
              </a:lnSpc>
              <a:defRPr lang="en-US" sz="44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0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11700254" cy="67710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27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559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0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492443"/>
          </a:xfrm>
        </p:spPr>
        <p:txBody>
          <a:bodyPr tIns="18288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77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044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7848600" cy="1354217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307777"/>
          </a:xfrm>
        </p:spPr>
        <p:txBody>
          <a:bodyPr tIns="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.vml"/><Relationship Id="rId3" Type="http://schemas.openxmlformats.org/officeDocument/2006/relationships/slideLayout" Target="../slideLayouts/slideLayout40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42.xml"/><Relationship Id="rId10" Type="http://schemas.openxmlformats.org/officeDocument/2006/relationships/tags" Target="../tags/tag15.xml"/><Relationship Id="rId4" Type="http://schemas.openxmlformats.org/officeDocument/2006/relationships/slideLayout" Target="../slideLayouts/slideLayout41.xml"/><Relationship Id="rId9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7436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2" imgW="347" imgH="348" progId="TCLayout.ActiveDocument.1">
                  <p:embed/>
                </p:oleObj>
              </mc:Choice>
              <mc:Fallback>
                <p:oleObj name="think-cell Slide" r:id="rId42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675" r:id="rId3"/>
    <p:sldLayoutId id="2147483679" r:id="rId4"/>
    <p:sldLayoutId id="2147483651" r:id="rId5"/>
    <p:sldLayoutId id="2147483666" r:id="rId6"/>
    <p:sldLayoutId id="2147483667" r:id="rId7"/>
    <p:sldLayoutId id="2147483673" r:id="rId8"/>
    <p:sldLayoutId id="2147483674" r:id="rId9"/>
    <p:sldLayoutId id="2147483678" r:id="rId10"/>
    <p:sldLayoutId id="2147483665" r:id="rId11"/>
    <p:sldLayoutId id="2147483657" r:id="rId12"/>
    <p:sldLayoutId id="2147483670" r:id="rId13"/>
    <p:sldLayoutId id="2147483650" r:id="rId14"/>
    <p:sldLayoutId id="2147483656" r:id="rId15"/>
    <p:sldLayoutId id="2147483664" r:id="rId16"/>
    <p:sldLayoutId id="2147483661" r:id="rId17"/>
    <p:sldLayoutId id="2147483658" r:id="rId18"/>
    <p:sldLayoutId id="2147483662" r:id="rId19"/>
    <p:sldLayoutId id="2147483659" r:id="rId20"/>
    <p:sldLayoutId id="2147483663" r:id="rId21"/>
    <p:sldLayoutId id="2147483660" r:id="rId22"/>
    <p:sldLayoutId id="2147483654" r:id="rId23"/>
    <p:sldLayoutId id="2147483655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1" r:id="rId34"/>
    <p:sldLayoutId id="2147483702" r:id="rId35"/>
    <p:sldLayoutId id="2147483703" r:id="rId36"/>
    <p:sldLayoutId id="2147483710" r:id="rId3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0225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>
            <a:lumMod val="2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47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C5C5C"/>
        </a:buClr>
        <a:buFont typeface="Arial" panose="020B0604020202020204" pitchFamily="34" charset="0"/>
        <a:buChar char="‒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3840" userDrawn="1">
          <p15:clr>
            <a:srgbClr val="9FCC3B"/>
          </p15:clr>
        </p15:guide>
        <p15:guide id="3" orient="horz" pos="312" userDrawn="1">
          <p15:clr>
            <a:srgbClr val="9FCC3B"/>
          </p15:clr>
        </p15:guide>
        <p15:guide id="4" orient="horz" pos="4008" userDrawn="1">
          <p15:clr>
            <a:srgbClr val="FDE53C"/>
          </p15:clr>
        </p15:guide>
        <p15:guide id="6" pos="7368" userDrawn="1">
          <p15:clr>
            <a:srgbClr val="9FCC3B"/>
          </p15:clr>
        </p15:guide>
        <p15:guide id="7" orient="horz" pos="3696" userDrawn="1">
          <p15:clr>
            <a:srgbClr val="9FCC3B"/>
          </p15:clr>
        </p15:guide>
        <p15:guide id="9" orient="horz" pos="576" userDrawn="1">
          <p15:clr>
            <a:srgbClr val="9FCC3B"/>
          </p15:clr>
        </p15:guide>
        <p15:guide id="10" orient="horz" pos="888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768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312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11" imgW="347" imgH="348" progId="TCLayout.ActiveDocument.1">
                  <p:embed/>
                </p:oleObj>
              </mc:Choice>
              <mc:Fallback>
                <p:oleObj name="think-cell Slide" r:id="rId11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0225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>
            <a:lumMod val="2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47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C5C5C"/>
        </a:buClr>
        <a:buFont typeface="Arial" panose="020B0604020202020204" pitchFamily="34" charset="0"/>
        <a:buChar char="‒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3840" userDrawn="1">
          <p15:clr>
            <a:srgbClr val="9FCC3B"/>
          </p15:clr>
        </p15:guide>
        <p15:guide id="3" orient="horz" pos="312" userDrawn="1">
          <p15:clr>
            <a:srgbClr val="9FCC3B"/>
          </p15:clr>
        </p15:guide>
        <p15:guide id="4" orient="horz" pos="4008" userDrawn="1">
          <p15:clr>
            <a:srgbClr val="FDE53C"/>
          </p15:clr>
        </p15:guide>
        <p15:guide id="6" pos="7368" userDrawn="1">
          <p15:clr>
            <a:srgbClr val="9FCC3B"/>
          </p15:clr>
        </p15:guide>
        <p15:guide id="7" orient="horz" pos="3696" userDrawn="1">
          <p15:clr>
            <a:srgbClr val="9FCC3B"/>
          </p15:clr>
        </p15:guide>
        <p15:guide id="9" orient="horz" pos="576" userDrawn="1">
          <p15:clr>
            <a:srgbClr val="9FCC3B"/>
          </p15:clr>
        </p15:guide>
        <p15:guide id="10" orient="horz" pos="888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768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31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35.xml"/><Relationship Id="rId7" Type="http://schemas.openxmlformats.org/officeDocument/2006/relationships/image" Target="../media/image27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37.xml"/><Relationship Id="rId7" Type="http://schemas.openxmlformats.org/officeDocument/2006/relationships/image" Target="../media/image30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tags" Target="../tags/tag41.xml"/><Relationship Id="rId7" Type="http://schemas.openxmlformats.org/officeDocument/2006/relationships/image" Target="../media/image33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36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tags" Target="../tags/tag43.xml"/><Relationship Id="rId7" Type="http://schemas.openxmlformats.org/officeDocument/2006/relationships/image" Target="../media/image33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37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3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47.xml"/><Relationship Id="rId7" Type="http://schemas.openxmlformats.org/officeDocument/2006/relationships/image" Target="../media/image38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49.xml"/><Relationship Id="rId7" Type="http://schemas.openxmlformats.org/officeDocument/2006/relationships/image" Target="../media/image38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7.xml"/><Relationship Id="rId7" Type="http://schemas.openxmlformats.org/officeDocument/2006/relationships/image" Target="../media/image9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43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43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46.png"/><Relationship Id="rId2" Type="http://schemas.openxmlformats.org/officeDocument/2006/relationships/tags" Target="../tags/tag5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47.png"/><Relationship Id="rId2" Type="http://schemas.openxmlformats.org/officeDocument/2006/relationships/tags" Target="../tags/tag5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3" Type="http://schemas.openxmlformats.org/officeDocument/2006/relationships/tags" Target="../tags/tag57.xml"/><Relationship Id="rId7" Type="http://schemas.openxmlformats.org/officeDocument/2006/relationships/image" Target="../media/image48.png"/><Relationship Id="rId12" Type="http://schemas.openxmlformats.org/officeDocument/2006/relationships/image" Target="../media/image53.png"/><Relationship Id="rId2" Type="http://schemas.openxmlformats.org/officeDocument/2006/relationships/tags" Target="../tags/tag5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11" Type="http://schemas.openxmlformats.org/officeDocument/2006/relationships/image" Target="../media/image52.png"/><Relationship Id="rId5" Type="http://schemas.openxmlformats.org/officeDocument/2006/relationships/oleObject" Target="../embeddings/oleObject22.bin"/><Relationship Id="rId15" Type="http://schemas.openxmlformats.org/officeDocument/2006/relationships/image" Target="../media/image56.jpeg"/><Relationship Id="rId10" Type="http://schemas.openxmlformats.org/officeDocument/2006/relationships/image" Target="../media/image51.png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50.png"/><Relationship Id="rId14" Type="http://schemas.openxmlformats.org/officeDocument/2006/relationships/image" Target="../media/image5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57.jpeg"/><Relationship Id="rId2" Type="http://schemas.openxmlformats.org/officeDocument/2006/relationships/tags" Target="../tags/tag5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tags" Target="../tags/tag61.xml"/><Relationship Id="rId7" Type="http://schemas.openxmlformats.org/officeDocument/2006/relationships/image" Target="../media/image58.png"/><Relationship Id="rId2" Type="http://schemas.openxmlformats.org/officeDocument/2006/relationships/tags" Target="../tags/tag6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57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63.xml"/><Relationship Id="rId7" Type="http://schemas.openxmlformats.org/officeDocument/2006/relationships/image" Target="../media/image58.png"/><Relationship Id="rId2" Type="http://schemas.openxmlformats.org/officeDocument/2006/relationships/tags" Target="../tags/tag6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61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tags" Target="../tags/tag65.xml"/><Relationship Id="rId7" Type="http://schemas.openxmlformats.org/officeDocument/2006/relationships/image" Target="../media/image62.png"/><Relationship Id="rId2" Type="http://schemas.openxmlformats.org/officeDocument/2006/relationships/tags" Target="../tags/tag6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6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9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6.jpe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65.png"/><Relationship Id="rId2" Type="http://schemas.openxmlformats.org/officeDocument/2006/relationships/tags" Target="../tags/tag6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3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tags" Target="../tags/tag69.xml"/><Relationship Id="rId7" Type="http://schemas.openxmlformats.org/officeDocument/2006/relationships/image" Target="../media/image66.png"/><Relationship Id="rId2" Type="http://schemas.openxmlformats.org/officeDocument/2006/relationships/tags" Target="../tags/tag68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67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tags" Target="../tags/tag71.xml"/><Relationship Id="rId7" Type="http://schemas.openxmlformats.org/officeDocument/2006/relationships/image" Target="../media/image65.png"/><Relationship Id="rId2" Type="http://schemas.openxmlformats.org/officeDocument/2006/relationships/tags" Target="../tags/tag70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6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70.png"/><Relationship Id="rId2" Type="http://schemas.openxmlformats.org/officeDocument/2006/relationships/tags" Target="../tags/tag72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3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13" Type="http://schemas.openxmlformats.org/officeDocument/2006/relationships/image" Target="../media/image77.png"/><Relationship Id="rId3" Type="http://schemas.openxmlformats.org/officeDocument/2006/relationships/tags" Target="../tags/tag75.xml"/><Relationship Id="rId7" Type="http://schemas.openxmlformats.org/officeDocument/2006/relationships/image" Target="../media/image71.png"/><Relationship Id="rId12" Type="http://schemas.openxmlformats.org/officeDocument/2006/relationships/image" Target="../media/image76.png"/><Relationship Id="rId2" Type="http://schemas.openxmlformats.org/officeDocument/2006/relationships/tags" Target="../tags/tag74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11" Type="http://schemas.openxmlformats.org/officeDocument/2006/relationships/image" Target="../media/image75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74.png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7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78.png"/><Relationship Id="rId2" Type="http://schemas.openxmlformats.org/officeDocument/2006/relationships/tags" Target="../tags/tag78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79.png"/><Relationship Id="rId2" Type="http://schemas.openxmlformats.org/officeDocument/2006/relationships/tags" Target="../tags/tag80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80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81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3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7.xml"/><Relationship Id="rId7" Type="http://schemas.openxmlformats.org/officeDocument/2006/relationships/oleObject" Target="../embeddings/oleObject24.bin"/><Relationship Id="rId2" Type="http://schemas.openxmlformats.org/officeDocument/2006/relationships/tags" Target="../tags/tag8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82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tags" Target="../tags/tag89.xml"/><Relationship Id="rId7" Type="http://schemas.openxmlformats.org/officeDocument/2006/relationships/image" Target="../media/image1.emf"/><Relationship Id="rId2" Type="http://schemas.openxmlformats.org/officeDocument/2006/relationships/tags" Target="../tags/tag88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tags" Target="../tags/tag91.xml"/><Relationship Id="rId7" Type="http://schemas.openxmlformats.org/officeDocument/2006/relationships/image" Target="../media/image1.emf"/><Relationship Id="rId2" Type="http://schemas.openxmlformats.org/officeDocument/2006/relationships/tags" Target="../tags/tag90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tags" Target="../tags/tag93.xml"/><Relationship Id="rId7" Type="http://schemas.openxmlformats.org/officeDocument/2006/relationships/image" Target="../media/image1.emf"/><Relationship Id="rId2" Type="http://schemas.openxmlformats.org/officeDocument/2006/relationships/tags" Target="../tags/tag92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8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3.xml"/><Relationship Id="rId7" Type="http://schemas.openxmlformats.org/officeDocument/2006/relationships/image" Target="../media/image18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25.xml"/><Relationship Id="rId7" Type="http://schemas.openxmlformats.org/officeDocument/2006/relationships/image" Target="../media/image20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23.png"/><Relationship Id="rId4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31.xml"/><Relationship Id="rId7" Type="http://schemas.openxmlformats.org/officeDocument/2006/relationships/image" Target="../media/image24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000114" cy="2019300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Final Presentation </a:t>
            </a:r>
            <a:r>
              <a:rPr lang="en-US">
                <a:solidFill>
                  <a:schemeClr val="bg1"/>
                </a:solidFill>
              </a:rPr>
              <a:t>SLAM implementation on AIRSIM </a:t>
            </a:r>
            <a:r>
              <a:rPr lang="en-US" err="1">
                <a:solidFill>
                  <a:schemeClr val="bg1"/>
                </a:solidFill>
              </a:rPr>
              <a:t>SImulation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67286C6-EE84-49FB-80ED-89E9CA40BB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1"/>
            <a:r>
              <a:rPr lang="en-US" dirty="0">
                <a:solidFill>
                  <a:schemeClr val="bg1"/>
                </a:solidFill>
              </a:rPr>
              <a:t>Ritvik Pandey (INTERN)</a:t>
            </a:r>
            <a:br>
              <a:rPr lang="en-US" dirty="0"/>
            </a:br>
            <a:r>
              <a:rPr lang="en-US" dirty="0">
                <a:solidFill>
                  <a:schemeClr val="bg1"/>
                </a:solidFill>
              </a:rPr>
              <a:t>Sheetal VERNEKAR (INTERN)</a:t>
            </a:r>
            <a:endParaRPr lang="en-US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7931344-B63A-4C5F-9B85-6372B66076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82C2F6-491A-44E6-B818-5FD5EEA2B2B8}" type="datetime4">
              <a:rPr kumimoji="0" lang="en-US" sz="16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July 30, 2020</a:t>
            </a:fld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5292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B91C17-6A17-47FF-974F-E0E5B04C8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720" y="395834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Demonstration video</a:t>
            </a:r>
          </a:p>
        </p:txBody>
      </p:sp>
    </p:spTree>
    <p:extLst>
      <p:ext uri="{BB962C8B-B14F-4D97-AF65-F5344CB8AC3E}">
        <p14:creationId xmlns:p14="http://schemas.microsoft.com/office/powerpoint/2010/main" val="26865762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998F926-769B-4C5B-A98F-5A8231428B5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85" t="3563" b="2564"/>
          <a:stretch/>
        </p:blipFill>
        <p:spPr>
          <a:xfrm>
            <a:off x="68773" y="1011387"/>
            <a:ext cx="4871010" cy="5108068"/>
          </a:xfrm>
          <a:prstGeom prst="rect">
            <a:avLst/>
          </a:prstGeom>
        </p:spPr>
      </p:pic>
      <p:pic>
        <p:nvPicPr>
          <p:cNvPr id="9" name="Picture 8" descr="A close up of a map&#10;&#10;Description automatically generated">
            <a:extLst>
              <a:ext uri="{FF2B5EF4-FFF2-40B4-BE49-F238E27FC236}">
                <a16:creationId xmlns:a16="http://schemas.microsoft.com/office/drawing/2014/main" id="{A4ED789D-21A2-4CFD-8008-B9978761D1C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00" t="52639" r="67583" b="3472"/>
          <a:stretch/>
        </p:blipFill>
        <p:spPr>
          <a:xfrm>
            <a:off x="4739125" y="1445965"/>
            <a:ext cx="2254204" cy="1295153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B91C17-6A17-47FF-974F-E0E5B04C8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720" y="395834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Motion and translation error plots</a:t>
            </a:r>
          </a:p>
        </p:txBody>
      </p:sp>
      <p:pic>
        <p:nvPicPr>
          <p:cNvPr id="12" name="Picture 11" descr="A close up of a map&#10;&#10;Description automatically generated">
            <a:extLst>
              <a:ext uri="{FF2B5EF4-FFF2-40B4-BE49-F238E27FC236}">
                <a16:creationId xmlns:a16="http://schemas.microsoft.com/office/drawing/2014/main" id="{1EBD4C0A-B8D3-4C62-AA60-63052ADE10F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16" t="52639" r="38461" b="3472"/>
          <a:stretch/>
        </p:blipFill>
        <p:spPr>
          <a:xfrm>
            <a:off x="4739126" y="3054376"/>
            <a:ext cx="2254203" cy="1289146"/>
          </a:xfrm>
          <a:prstGeom prst="rect">
            <a:avLst/>
          </a:prstGeom>
        </p:spPr>
      </p:pic>
      <p:pic>
        <p:nvPicPr>
          <p:cNvPr id="13" name="Picture 12" descr="A close up of a map&#10;&#10;Description automatically generated">
            <a:extLst>
              <a:ext uri="{FF2B5EF4-FFF2-40B4-BE49-F238E27FC236}">
                <a16:creationId xmlns:a16="http://schemas.microsoft.com/office/drawing/2014/main" id="{A228AEB9-C72E-46AC-8B85-0CF0E8F8662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90" t="52858" r="9794" b="3253"/>
          <a:stretch/>
        </p:blipFill>
        <p:spPr>
          <a:xfrm>
            <a:off x="4739125" y="4656780"/>
            <a:ext cx="2254204" cy="1295153"/>
          </a:xfrm>
          <a:prstGeom prst="rect">
            <a:avLst/>
          </a:prstGeom>
        </p:spPr>
      </p:pic>
      <p:pic>
        <p:nvPicPr>
          <p:cNvPr id="3" name="Picture 2" descr="A close up of a map&#10;&#10;Description automatically generated">
            <a:extLst>
              <a:ext uri="{FF2B5EF4-FFF2-40B4-BE49-F238E27FC236}">
                <a16:creationId xmlns:a16="http://schemas.microsoft.com/office/drawing/2014/main" id="{A0F3D8D7-588B-4AC9-9F1C-81D705833914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0" r="2088" b="2205"/>
          <a:stretch/>
        </p:blipFill>
        <p:spPr>
          <a:xfrm>
            <a:off x="6993329" y="1235356"/>
            <a:ext cx="5089451" cy="5226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2606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B91C17-6A17-47FF-974F-E0E5B04C8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720" y="395834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Motion and rotational error plots</a:t>
            </a:r>
          </a:p>
        </p:txBody>
      </p:sp>
      <p:pic>
        <p:nvPicPr>
          <p:cNvPr id="6" name="Picture 5" descr="A close up of a map&#10;&#10;Description automatically generated">
            <a:extLst>
              <a:ext uri="{FF2B5EF4-FFF2-40B4-BE49-F238E27FC236}">
                <a16:creationId xmlns:a16="http://schemas.microsoft.com/office/drawing/2014/main" id="{D02ECC58-F968-421D-B26D-ED92C46CE85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36" t="1912" r="3333" b="3135"/>
          <a:stretch/>
        </p:blipFill>
        <p:spPr>
          <a:xfrm>
            <a:off x="309879" y="1011388"/>
            <a:ext cx="5582921" cy="5136582"/>
          </a:xfrm>
          <a:prstGeom prst="rect">
            <a:avLst/>
          </a:prstGeom>
        </p:spPr>
      </p:pic>
      <p:pic>
        <p:nvPicPr>
          <p:cNvPr id="8" name="Picture 7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C468B586-1CDA-421C-A1B8-615E64B2083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627" y="1011388"/>
            <a:ext cx="4967666" cy="513658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4412E56-A30A-468B-A03D-D3E234668E33}"/>
              </a:ext>
            </a:extLst>
          </p:cNvPr>
          <p:cNvSpPr txBox="1"/>
          <p:nvPr/>
        </p:nvSpPr>
        <p:spPr>
          <a:xfrm>
            <a:off x="1574800" y="6323666"/>
            <a:ext cx="23063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/>
              <a:t>Relative Error map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33F9F97-DE4C-49A3-B6DE-0423B32BDC59}"/>
              </a:ext>
            </a:extLst>
          </p:cNvPr>
          <p:cNvSpPr txBox="1"/>
          <p:nvPr/>
        </p:nvSpPr>
        <p:spPr>
          <a:xfrm>
            <a:off x="7772400" y="6185166"/>
            <a:ext cx="29260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/>
              <a:t>Absolute Euler Error plots</a:t>
            </a:r>
          </a:p>
        </p:txBody>
      </p:sp>
    </p:spTree>
    <p:extLst>
      <p:ext uri="{BB962C8B-B14F-4D97-AF65-F5344CB8AC3E}">
        <p14:creationId xmlns:p14="http://schemas.microsoft.com/office/powerpoint/2010/main" val="17259066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823B7CC-95C6-42D7-A9C5-B57C46668F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8D77185-A724-44FA-AB5B-1B19C3638A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mprove the optimization solver to reduce drif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etter initialization for IMU paramet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ugment with terrain or map databa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xtend to multiple sensors such as Radar, LiDA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DF0734-D395-42AA-9D66-1DEE607A4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1807E2-6A49-41C6-8CF6-D671A23353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Towards a generic sensor fusion framework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FBB4232-9452-42B1-9387-2607BF755C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1604" y="3248025"/>
            <a:ext cx="7980132" cy="2619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6157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A145C9C-F263-44AB-99F8-90EAE73207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A145C9C-F263-44AB-99F8-90EAE73207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D5D65B6-A427-4C76-922D-58852A47AF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a-DK" sz="88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3E87C2-48E3-4EF5-B7EF-0B14F111BA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819" y="2848610"/>
            <a:ext cx="8598597" cy="1160780"/>
          </a:xfrm>
        </p:spPr>
        <p:txBody>
          <a:bodyPr/>
          <a:lstStyle/>
          <a:p>
            <a:r>
              <a:rPr lang="da-DK"/>
              <a:t>Thankyou</a:t>
            </a:r>
          </a:p>
        </p:txBody>
      </p:sp>
    </p:spTree>
    <p:extLst>
      <p:ext uri="{BB962C8B-B14F-4D97-AF65-F5344CB8AC3E}">
        <p14:creationId xmlns:p14="http://schemas.microsoft.com/office/powerpoint/2010/main" val="2461008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6B3B15-7F13-4A8C-8EC6-071A0409E4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6B3B15-7F13-4A8C-8EC6-071A0409E4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F676698-1BB5-4861-AF6C-CC7EC03F3D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ltering Based techniques: Overview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393289"/>
            <a:ext cx="5372100" cy="1747345"/>
          </a:xfrm>
        </p:spPr>
        <p:txBody>
          <a:bodyPr/>
          <a:lstStyle/>
          <a:p>
            <a:pPr lvl="0"/>
            <a:r>
              <a:rPr lang="en-US"/>
              <a:t>Feature Extraction and Tracking</a:t>
            </a:r>
          </a:p>
          <a:p>
            <a:pPr lvl="1"/>
            <a:r>
              <a:rPr lang="en-US" err="1"/>
              <a:t>Keypoints</a:t>
            </a:r>
            <a:r>
              <a:rPr lang="en-US"/>
              <a:t> and Descriptor</a:t>
            </a:r>
          </a:p>
          <a:p>
            <a:pPr lvl="1"/>
            <a:r>
              <a:rPr lang="en-US"/>
              <a:t>Uses camera feed</a:t>
            </a:r>
          </a:p>
          <a:p>
            <a:pPr marL="0" lvl="1" indent="0">
              <a:buNone/>
            </a:pPr>
            <a:r>
              <a:rPr lang="en-US" sz="2000" b="0"/>
              <a:t> - SIFT, SURF : </a:t>
            </a:r>
            <a:r>
              <a:rPr lang="en-US" sz="2000" b="0" err="1"/>
              <a:t>Binacular</a:t>
            </a:r>
            <a:r>
              <a:rPr lang="en-US" sz="2000" b="0"/>
              <a:t>-Vision SLAM</a:t>
            </a:r>
          </a:p>
          <a:p>
            <a:r>
              <a:rPr lang="en-US" sz="2000" b="0"/>
              <a:t> - Harris Detector: Mono-SLAM </a:t>
            </a:r>
          </a:p>
          <a:p>
            <a:r>
              <a:rPr lang="en-US" sz="2000" b="0"/>
              <a:t> - ORB: ORB-SLAM</a:t>
            </a:r>
          </a:p>
          <a:p>
            <a:pPr lvl="1"/>
            <a:endParaRPr lang="en-US" sz="200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AB85AC-698D-4575-8395-DDC784BD9F8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393289"/>
            <a:ext cx="5372100" cy="1747345"/>
          </a:xfrm>
        </p:spPr>
        <p:txBody>
          <a:bodyPr/>
          <a:lstStyle/>
          <a:p>
            <a:pPr lvl="0"/>
            <a:r>
              <a:rPr lang="en-US">
                <a:solidFill>
                  <a:prstClr val="black"/>
                </a:solidFill>
              </a:rPr>
              <a:t>Dynamic Observational Model</a:t>
            </a:r>
          </a:p>
          <a:p>
            <a:pPr lvl="1"/>
            <a:r>
              <a:rPr lang="en-US">
                <a:solidFill>
                  <a:prstClr val="black"/>
                </a:solidFill>
              </a:rPr>
              <a:t>Control and State estimation using filtering pipeline</a:t>
            </a:r>
          </a:p>
          <a:p>
            <a:pPr lvl="1"/>
            <a:r>
              <a:rPr lang="en-US">
                <a:solidFill>
                  <a:prstClr val="black"/>
                </a:solidFill>
              </a:rPr>
              <a:t>Uses IMU data</a:t>
            </a:r>
          </a:p>
          <a:p>
            <a:pPr lvl="2"/>
            <a:r>
              <a:rPr lang="en-US"/>
              <a:t>Extended Kalman Filter for non-linear problems</a:t>
            </a:r>
          </a:p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Two components of filtering based techniques</a:t>
            </a:r>
          </a:p>
        </p:txBody>
      </p:sp>
      <p:pic>
        <p:nvPicPr>
          <p:cNvPr id="13" name="Picture 2" descr="CS 143: Local Feature Matching">
            <a:extLst>
              <a:ext uri="{FF2B5EF4-FFF2-40B4-BE49-F238E27FC236}">
                <a16:creationId xmlns:a16="http://schemas.microsoft.com/office/drawing/2014/main" id="{F052F98E-CB8D-4667-A29D-3AADDB8DA99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95300" y="1001977"/>
            <a:ext cx="1862061" cy="2256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GitHub - deepanshut041/feature-detection: Oriented FAST and ...">
            <a:extLst>
              <a:ext uri="{FF2B5EF4-FFF2-40B4-BE49-F238E27FC236}">
                <a16:creationId xmlns:a16="http://schemas.microsoft.com/office/drawing/2014/main" id="{F2F9F04A-D2ED-4862-9AAA-F1CF35D398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8954" y="1180223"/>
            <a:ext cx="2981325" cy="1994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4646B351-AACF-4CAC-A592-A2FA75050F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148994" y="1148255"/>
            <a:ext cx="2216074" cy="2055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4C93613B-C306-4F15-9412-D5C7A2B4CB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585199" y="1153447"/>
            <a:ext cx="3234267" cy="2084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0098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eature Extraction and Track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>
                <a:solidFill>
                  <a:prstClr val="black"/>
                </a:solidFill>
              </a:rPr>
              <a:t>Feature Extraction</a:t>
            </a:r>
          </a:p>
          <a:p>
            <a:pPr lvl="1"/>
            <a:r>
              <a:rPr lang="en-US" err="1"/>
              <a:t>Keypoints</a:t>
            </a:r>
            <a:r>
              <a:rPr lang="en-US"/>
              <a:t> (corner, change in first/second order derivative at a point, local maxima/minima)</a:t>
            </a:r>
          </a:p>
          <a:p>
            <a:pPr lvl="1"/>
            <a:r>
              <a:rPr lang="en-US"/>
              <a:t>The value at which </a:t>
            </a:r>
            <a:r>
              <a:rPr lang="en-US" err="1"/>
              <a:t>keypoint</a:t>
            </a:r>
            <a:r>
              <a:rPr lang="en-US"/>
              <a:t> selected is its descriptor</a:t>
            </a:r>
          </a:p>
          <a:p>
            <a:pPr marL="0" lvl="1" indent="0">
              <a:buNone/>
            </a:pPr>
            <a:r>
              <a:rPr lang="en-US" b="1">
                <a:solidFill>
                  <a:prstClr val="black"/>
                </a:solidFill>
              </a:rPr>
              <a:t>Feature Tracking</a:t>
            </a:r>
          </a:p>
          <a:p>
            <a:pPr lvl="1"/>
            <a:r>
              <a:rPr lang="en-US"/>
              <a:t>Descriptors are matched with </a:t>
            </a:r>
            <a:r>
              <a:rPr lang="en-US" err="1"/>
              <a:t>keypoints</a:t>
            </a:r>
            <a:r>
              <a:rPr lang="en-US"/>
              <a:t> from other images and warping matrix is calculated. </a:t>
            </a:r>
          </a:p>
          <a:p>
            <a:pPr marL="0" lvl="1" indent="0">
              <a:buNone/>
            </a:pPr>
            <a:endParaRPr lang="en-US" b="1">
              <a:solidFill>
                <a:prstClr val="black"/>
              </a:solidFill>
            </a:endParaRPr>
          </a:p>
          <a:p>
            <a:pPr marL="0" lvl="1" indent="0">
              <a:buNone/>
            </a:pP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VINS uses BRIEF descriptor and KLT sparse optical tracker</a:t>
            </a:r>
          </a:p>
        </p:txBody>
      </p:sp>
      <p:pic>
        <p:nvPicPr>
          <p:cNvPr id="11" name="Picture 2" descr="CS 143: Local Feature Matching">
            <a:extLst>
              <a:ext uri="{FF2B5EF4-FFF2-40B4-BE49-F238E27FC236}">
                <a16:creationId xmlns:a16="http://schemas.microsoft.com/office/drawing/2014/main" id="{0760C5A9-4FA4-40A5-9F5B-538FCC97EA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232072" y="1627968"/>
            <a:ext cx="1862061" cy="225632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ECEC070-DFFD-40A5-8A68-0F813BF64102}"/>
              </a:ext>
            </a:extLst>
          </p:cNvPr>
          <p:cNvSpPr txBox="1"/>
          <p:nvPr/>
        </p:nvSpPr>
        <p:spPr>
          <a:xfrm>
            <a:off x="6095999" y="4414180"/>
            <a:ext cx="3996268" cy="923330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b="1"/>
              <a:t>SIFT, SURF </a:t>
            </a:r>
            <a:r>
              <a:rPr lang="en-US"/>
              <a:t>: </a:t>
            </a:r>
            <a:r>
              <a:rPr lang="en-US" err="1"/>
              <a:t>Binacular</a:t>
            </a:r>
            <a:r>
              <a:rPr lang="en-US"/>
              <a:t>-Vision SLAM</a:t>
            </a:r>
          </a:p>
          <a:p>
            <a:r>
              <a:rPr lang="en-US" b="1"/>
              <a:t>Harris Detector</a:t>
            </a:r>
            <a:r>
              <a:rPr lang="en-US"/>
              <a:t>: Mono-SLAM </a:t>
            </a:r>
          </a:p>
          <a:p>
            <a:r>
              <a:rPr lang="en-US" b="1"/>
              <a:t>ORB: </a:t>
            </a:r>
            <a:r>
              <a:rPr lang="en-US"/>
              <a:t>ORB-SLAM</a:t>
            </a:r>
            <a:endParaRPr lang="en-US" b="1"/>
          </a:p>
        </p:txBody>
      </p:sp>
      <p:pic>
        <p:nvPicPr>
          <p:cNvPr id="15" name="Picture 4" descr="GitHub - deepanshut041/feature-detection: Oriented FAST and ...">
            <a:extLst>
              <a:ext uri="{FF2B5EF4-FFF2-40B4-BE49-F238E27FC236}">
                <a16:creationId xmlns:a16="http://schemas.microsoft.com/office/drawing/2014/main" id="{4A6A5B6D-56C0-4AB6-A7F9-F8A7EB0277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8806" y="1661483"/>
            <a:ext cx="3322130" cy="2222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17305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47">
            <a:extLst>
              <a:ext uri="{FF2B5EF4-FFF2-40B4-BE49-F238E27FC236}">
                <a16:creationId xmlns:a16="http://schemas.microsoft.com/office/drawing/2014/main" id="{9D5A8C09-6EF3-40FE-971B-D19C29B035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44441" y="2027912"/>
            <a:ext cx="6747559" cy="3344187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ltering: Dynamic observational mod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3004479"/>
          </a:xfrm>
        </p:spPr>
        <p:txBody>
          <a:bodyPr/>
          <a:lstStyle/>
          <a:p>
            <a:pPr lvl="0"/>
            <a:r>
              <a:rPr lang="en-US">
                <a:solidFill>
                  <a:prstClr val="black"/>
                </a:solidFill>
              </a:rPr>
              <a:t>Usage</a:t>
            </a:r>
          </a:p>
          <a:p>
            <a:pPr lvl="1"/>
            <a:r>
              <a:rPr lang="en-US"/>
              <a:t>Serves as both control and state estimation of the </a:t>
            </a:r>
            <a:r>
              <a:rPr lang="en-US" b="1"/>
              <a:t>filtering pipeline</a:t>
            </a:r>
          </a:p>
          <a:p>
            <a:pPr marL="0" lvl="1" indent="0">
              <a:buNone/>
            </a:pPr>
            <a:r>
              <a:rPr lang="en-US" b="1">
                <a:solidFill>
                  <a:prstClr val="black"/>
                </a:solidFill>
              </a:rPr>
              <a:t>Need</a:t>
            </a:r>
          </a:p>
          <a:p>
            <a:pPr lvl="1"/>
            <a:r>
              <a:rPr lang="en-US"/>
              <a:t>In real world, data arrives with lag so an estimation is need of state of drone at each moment in time</a:t>
            </a:r>
          </a:p>
          <a:p>
            <a:pPr marL="0" lvl="1" indent="0">
              <a:buNone/>
            </a:pPr>
            <a:endParaRPr lang="en-US" b="1">
              <a:solidFill>
                <a:prstClr val="black"/>
              </a:solidFill>
            </a:endParaRPr>
          </a:p>
          <a:p>
            <a:pPr marL="0" lvl="1" indent="0">
              <a:buNone/>
            </a:pP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Updating the new estimate and variance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2924F27-1E40-4163-B67E-CC2D307C9775}"/>
                  </a:ext>
                </a:extLst>
              </p:cNvPr>
              <p:cNvSpPr txBox="1"/>
              <p:nvPr/>
            </p:nvSpPr>
            <p:spPr>
              <a:xfrm>
                <a:off x="495299" y="4551835"/>
                <a:ext cx="5372101" cy="8964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𝐾</m:t>
                        </m:r>
                      </m:sub>
                    </m:sSub>
                  </m:oMath>
                </a14:m>
                <a:r>
                  <a:rPr lang="en-US" sz="3600"/>
                  <a:t>=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36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nor/>
                          </m:rPr>
                          <a:rPr lang="en-US" sz="3600" dirty="0"/>
                          <m:t>[</m:t>
                        </m:r>
                        <m:sSubSup>
                          <m:sSubSupPr>
                            <m:ctrlPr>
                              <a:rPr lang="en-US" sz="36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𝐼</m:t>
                            </m:r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r>
                          <a:rPr lang="en-US" sz="3600" dirty="0">
                            <a:latin typeface="Cambria Math" panose="02040503050406030204" pitchFamily="18" charset="0"/>
                          </a:rPr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]</m:t>
                        </m:r>
                      </m:e>
                      <m:sup>
                        <m:r>
                          <a:rPr lang="en-US" sz="3600" b="0" i="1" dirty="0" smtClean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endParaRPr lang="en-US" sz="3600"/>
              </a:p>
              <a:p>
                <a:pPr algn="ctr"/>
                <a:r>
                  <a:rPr lang="en-US" b="1"/>
                  <a:t>IMU measurement at any time T</a:t>
                </a: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2924F27-1E40-4163-B67E-CC2D307C97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299" y="4551835"/>
                <a:ext cx="5372101" cy="896464"/>
              </a:xfrm>
              <a:prstGeom prst="rect">
                <a:avLst/>
              </a:prstGeom>
              <a:blipFill>
                <a:blip r:embed="rId8"/>
                <a:stretch>
                  <a:fillRect t="-14286" b="-149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F61BFFE-9437-422F-ABC1-556E3026FF0B}"/>
                  </a:ext>
                </a:extLst>
              </p:cNvPr>
              <p:cNvSpPr txBox="1"/>
              <p:nvPr/>
            </p:nvSpPr>
            <p:spPr>
              <a:xfrm>
                <a:off x="7203487" y="1194157"/>
                <a:ext cx="3996268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3600" i="1"/>
                  <a:t> = f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</m:oMath>
                </a14:m>
                <a:r>
                  <a:rPr lang="en-US" sz="3600" i="1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3600" i="1"/>
                  <a:t>)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endParaRPr lang="en-US" sz="3600" i="1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F61BFFE-9437-422F-ABC1-556E3026FF0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03487" y="1194157"/>
                <a:ext cx="3996268" cy="553998"/>
              </a:xfrm>
              <a:prstGeom prst="rect">
                <a:avLst/>
              </a:prstGeom>
              <a:blipFill>
                <a:blip r:embed="rId9"/>
                <a:stretch>
                  <a:fillRect t="-25275" b="-483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024006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ltering: Dynamic observational mod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3004479"/>
          </a:xfrm>
        </p:spPr>
        <p:txBody>
          <a:bodyPr/>
          <a:lstStyle/>
          <a:p>
            <a:pPr lvl="0"/>
            <a:r>
              <a:rPr lang="en-US">
                <a:solidFill>
                  <a:prstClr val="black"/>
                </a:solidFill>
              </a:rPr>
              <a:t>Usage</a:t>
            </a:r>
          </a:p>
          <a:p>
            <a:pPr lvl="1"/>
            <a:r>
              <a:rPr lang="en-US"/>
              <a:t>Serves as both control and state estimation of the </a:t>
            </a:r>
            <a:r>
              <a:rPr lang="en-US" b="1"/>
              <a:t>filtering pipeline</a:t>
            </a:r>
          </a:p>
          <a:p>
            <a:pPr marL="0" lvl="1" indent="0">
              <a:buNone/>
            </a:pPr>
            <a:r>
              <a:rPr lang="en-US" b="1">
                <a:solidFill>
                  <a:prstClr val="black"/>
                </a:solidFill>
              </a:rPr>
              <a:t>Need</a:t>
            </a:r>
          </a:p>
          <a:p>
            <a:pPr lvl="1"/>
            <a:r>
              <a:rPr lang="en-US"/>
              <a:t>In real world, data arrives with lag so an estimation is need of state of drone at each moment in time</a:t>
            </a:r>
          </a:p>
          <a:p>
            <a:pPr marL="0" lvl="1" indent="0">
              <a:buNone/>
            </a:pPr>
            <a:endParaRPr lang="en-US" b="1">
              <a:solidFill>
                <a:prstClr val="black"/>
              </a:solidFill>
            </a:endParaRPr>
          </a:p>
          <a:p>
            <a:pPr marL="0" lvl="1" indent="0">
              <a:buNone/>
            </a:pP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Prediction of state using previous state and control vector with nois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2924F27-1E40-4163-B67E-CC2D307C9775}"/>
                  </a:ext>
                </a:extLst>
              </p:cNvPr>
              <p:cNvSpPr txBox="1"/>
              <p:nvPr/>
            </p:nvSpPr>
            <p:spPr>
              <a:xfrm>
                <a:off x="495299" y="4551835"/>
                <a:ext cx="5372101" cy="8964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𝐾</m:t>
                        </m:r>
                      </m:sub>
                    </m:sSub>
                  </m:oMath>
                </a14:m>
                <a:r>
                  <a:rPr lang="en-US" sz="3600"/>
                  <a:t>=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36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nor/>
                          </m:rPr>
                          <a:rPr lang="en-US" sz="3600" dirty="0"/>
                          <m:t>[</m:t>
                        </m:r>
                        <m:sSubSup>
                          <m:sSubSupPr>
                            <m:ctrlPr>
                              <a:rPr lang="en-US" sz="36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𝐼</m:t>
                            </m:r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r>
                          <a:rPr lang="en-US" sz="3600" dirty="0">
                            <a:latin typeface="Cambria Math" panose="02040503050406030204" pitchFamily="18" charset="0"/>
                          </a:rPr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]</m:t>
                        </m:r>
                      </m:e>
                      <m:sup>
                        <m:r>
                          <a:rPr lang="en-US" sz="3600" b="0" i="1" dirty="0" smtClean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endParaRPr lang="en-US" sz="3600"/>
              </a:p>
              <a:p>
                <a:pPr algn="ctr"/>
                <a:r>
                  <a:rPr lang="en-US" b="1"/>
                  <a:t>IMU measurement at any time T</a:t>
                </a: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2924F27-1E40-4163-B67E-CC2D307C97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299" y="4551835"/>
                <a:ext cx="5372101" cy="896464"/>
              </a:xfrm>
              <a:prstGeom prst="rect">
                <a:avLst/>
              </a:prstGeom>
              <a:blipFill>
                <a:blip r:embed="rId7"/>
                <a:stretch>
                  <a:fillRect t="-14286" b="-149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F61BFFE-9437-422F-ABC1-556E3026FF0B}"/>
                  </a:ext>
                </a:extLst>
              </p:cNvPr>
              <p:cNvSpPr txBox="1"/>
              <p:nvPr/>
            </p:nvSpPr>
            <p:spPr>
              <a:xfrm>
                <a:off x="7203487" y="1194157"/>
                <a:ext cx="3996268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3600" i="1"/>
                  <a:t> = f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</m:oMath>
                </a14:m>
                <a:r>
                  <a:rPr lang="en-US" sz="3600" i="1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3600" i="1"/>
                  <a:t>)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endParaRPr lang="en-US" sz="3600" i="1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F61BFFE-9437-422F-ABC1-556E3026FF0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03487" y="1194157"/>
                <a:ext cx="3996268" cy="553998"/>
              </a:xfrm>
              <a:prstGeom prst="rect">
                <a:avLst/>
              </a:prstGeom>
              <a:blipFill>
                <a:blip r:embed="rId8"/>
                <a:stretch>
                  <a:fillRect t="-25275" b="-483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Picture 2">
            <a:extLst>
              <a:ext uri="{FF2B5EF4-FFF2-40B4-BE49-F238E27FC236}">
                <a16:creationId xmlns:a16="http://schemas.microsoft.com/office/drawing/2014/main" id="{609F11B4-359C-4742-B887-BD8E0EF043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420445" y="2446486"/>
            <a:ext cx="3562351" cy="3303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D69DDBF-8829-4A29-BC67-8DF96A755B7A}"/>
              </a:ext>
            </a:extLst>
          </p:cNvPr>
          <p:cNvSpPr txBox="1"/>
          <p:nvPr/>
        </p:nvSpPr>
        <p:spPr>
          <a:xfrm>
            <a:off x="8174295" y="2016160"/>
            <a:ext cx="2054650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b="1"/>
              <a:t>Prediction Phase</a:t>
            </a:r>
          </a:p>
        </p:txBody>
      </p:sp>
    </p:spTree>
    <p:extLst>
      <p:ext uri="{BB962C8B-B14F-4D97-AF65-F5344CB8AC3E}">
        <p14:creationId xmlns:p14="http://schemas.microsoft.com/office/powerpoint/2010/main" val="9953611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ltering: Dynamic observational mod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3004479"/>
          </a:xfrm>
        </p:spPr>
        <p:txBody>
          <a:bodyPr/>
          <a:lstStyle/>
          <a:p>
            <a:pPr lvl="0"/>
            <a:r>
              <a:rPr lang="en-US">
                <a:solidFill>
                  <a:prstClr val="black"/>
                </a:solidFill>
              </a:rPr>
              <a:t>Usage</a:t>
            </a:r>
          </a:p>
          <a:p>
            <a:pPr lvl="1"/>
            <a:r>
              <a:rPr lang="en-US"/>
              <a:t>Serves as both control and state estimation of the </a:t>
            </a:r>
            <a:r>
              <a:rPr lang="en-US" b="1"/>
              <a:t>filtering pipeline</a:t>
            </a:r>
          </a:p>
          <a:p>
            <a:pPr marL="0" lvl="1" indent="0">
              <a:buNone/>
            </a:pPr>
            <a:r>
              <a:rPr lang="en-US" b="1">
                <a:solidFill>
                  <a:prstClr val="black"/>
                </a:solidFill>
              </a:rPr>
              <a:t>Need</a:t>
            </a:r>
          </a:p>
          <a:p>
            <a:pPr lvl="1"/>
            <a:r>
              <a:rPr lang="en-US"/>
              <a:t>In real world, data arrives with lag so an estimation is need of state of drone at each moment in time</a:t>
            </a:r>
          </a:p>
          <a:p>
            <a:pPr marL="0" lvl="1" indent="0">
              <a:buNone/>
            </a:pPr>
            <a:endParaRPr lang="en-US" b="1">
              <a:solidFill>
                <a:prstClr val="black"/>
              </a:solidFill>
            </a:endParaRPr>
          </a:p>
          <a:p>
            <a:pPr marL="0" lvl="1" indent="0">
              <a:buNone/>
            </a:pP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Prediction of state using previous state and control vector with nois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2924F27-1E40-4163-B67E-CC2D307C9775}"/>
                  </a:ext>
                </a:extLst>
              </p:cNvPr>
              <p:cNvSpPr txBox="1"/>
              <p:nvPr/>
            </p:nvSpPr>
            <p:spPr>
              <a:xfrm>
                <a:off x="495299" y="4551835"/>
                <a:ext cx="5372101" cy="8964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𝐾</m:t>
                        </m:r>
                      </m:sub>
                    </m:sSub>
                  </m:oMath>
                </a14:m>
                <a:r>
                  <a:rPr lang="en-US" sz="3600"/>
                  <a:t>=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36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nor/>
                          </m:rPr>
                          <a:rPr lang="en-US" sz="3600" dirty="0"/>
                          <m:t>[</m:t>
                        </m:r>
                        <m:sSubSup>
                          <m:sSubSupPr>
                            <m:ctrlPr>
                              <a:rPr lang="en-US" sz="36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𝐼</m:t>
                            </m:r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sz="36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r>
                          <a:rPr lang="en-US" sz="3600" dirty="0">
                            <a:latin typeface="Cambria Math" panose="02040503050406030204" pitchFamily="18" charset="0"/>
                          </a:rPr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𝑊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 </m:t>
                        </m:r>
                        <m:sSubSup>
                          <m:sSubSupPr>
                            <m:ctrlPr>
                              <a:rPr lang="en-US" sz="36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sub>
                          <m:sup>
                            <m:r>
                              <a:rPr lang="en-US" sz="36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sz="3600" dirty="0"/>
                          <m:t>]</m:t>
                        </m:r>
                      </m:e>
                      <m:sup>
                        <m:r>
                          <a:rPr lang="en-US" sz="3600" b="0" i="1" dirty="0" smtClean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endParaRPr lang="en-US" sz="3600"/>
              </a:p>
              <a:p>
                <a:pPr algn="ctr"/>
                <a:r>
                  <a:rPr lang="en-US" b="1"/>
                  <a:t>IMU measurement at any time T</a:t>
                </a: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2924F27-1E40-4163-B67E-CC2D307C97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299" y="4551835"/>
                <a:ext cx="5372101" cy="896464"/>
              </a:xfrm>
              <a:prstGeom prst="rect">
                <a:avLst/>
              </a:prstGeom>
              <a:blipFill>
                <a:blip r:embed="rId7"/>
                <a:stretch>
                  <a:fillRect t="-14286" b="-149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F61BFFE-9437-422F-ABC1-556E3026FF0B}"/>
                  </a:ext>
                </a:extLst>
              </p:cNvPr>
              <p:cNvSpPr txBox="1"/>
              <p:nvPr/>
            </p:nvSpPr>
            <p:spPr>
              <a:xfrm>
                <a:off x="7203487" y="1194157"/>
                <a:ext cx="3996268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3600" i="1"/>
                  <a:t> = f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</m:oMath>
                </a14:m>
                <a:r>
                  <a:rPr lang="en-US" sz="3600" i="1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3600" i="1"/>
                  <a:t>) 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3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en-US" sz="36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endParaRPr lang="en-US" sz="3600" i="1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F61BFFE-9437-422F-ABC1-556E3026FF0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03487" y="1194157"/>
                <a:ext cx="3996268" cy="553998"/>
              </a:xfrm>
              <a:prstGeom prst="rect">
                <a:avLst/>
              </a:prstGeom>
              <a:blipFill>
                <a:blip r:embed="rId8"/>
                <a:stretch>
                  <a:fillRect t="-25275" b="-483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5" name="Picture 2">
            <a:extLst>
              <a:ext uri="{FF2B5EF4-FFF2-40B4-BE49-F238E27FC236}">
                <a16:creationId xmlns:a16="http://schemas.microsoft.com/office/drawing/2014/main" id="{2AF4FC84-2B45-44F1-A0A6-BAF6E68496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554133" y="2027912"/>
            <a:ext cx="6451600" cy="356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76275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2725193-16BF-426E-9971-AA09BD4A9E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2725193-16BF-426E-9971-AA09BD4A9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E0F280-FA4F-4686-B1AD-1B122155E8D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is presentation will cover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09F3BB80-C773-47A0-96A6-22881D4B0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F83C94E-5865-4A39-B49C-66C22701D95C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029" y="3657600"/>
            <a:ext cx="2459881" cy="2011680"/>
          </a:xfrm>
        </p:spPr>
        <p:txBody>
          <a:bodyPr/>
          <a:lstStyle/>
          <a:p>
            <a:pPr algn="ctr"/>
            <a:r>
              <a:rPr lang="en-US"/>
              <a:t>VINS-Mono with </a:t>
            </a:r>
            <a:r>
              <a:rPr lang="en-US" err="1"/>
              <a:t>AirSim</a:t>
            </a:r>
            <a:endParaRPr lang="en-US"/>
          </a:p>
          <a:p>
            <a:pPr lvl="1"/>
            <a:r>
              <a:rPr lang="en-US"/>
              <a:t>Working and formula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C11F36-6018-43DD-B348-F830FC718CC6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en-US"/>
              <a:t>Result and Error </a:t>
            </a:r>
          </a:p>
          <a:p>
            <a:pPr lvl="1"/>
            <a:r>
              <a:rPr lang="en-US"/>
              <a:t>Evaluation</a:t>
            </a:r>
          </a:p>
          <a:p>
            <a:pPr lvl="1"/>
            <a:r>
              <a:rPr lang="en-US"/>
              <a:t>Error </a:t>
            </a:r>
            <a:r>
              <a:rPr lang="en-US" err="1"/>
              <a:t>statestics</a:t>
            </a: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171AAF3-06E5-43B9-8597-1B16EA3D264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To present the general picture of VINS-Mono and its working with </a:t>
            </a:r>
            <a:r>
              <a:rPr lang="en-US" err="1"/>
              <a:t>AirSim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Overview of SLAM </a:t>
            </a:r>
          </a:p>
          <a:p>
            <a:pPr lvl="1"/>
            <a:r>
              <a:rPr lang="en-US"/>
              <a:t>Principle, Need</a:t>
            </a:r>
          </a:p>
          <a:p>
            <a:pPr lvl="1"/>
            <a:r>
              <a:rPr lang="en-US"/>
              <a:t>VIO</a:t>
            </a:r>
          </a:p>
          <a:p>
            <a:pPr lvl="1"/>
            <a:r>
              <a:rPr lang="en-US"/>
              <a:t>Filtering based VIO</a:t>
            </a:r>
          </a:p>
          <a:p>
            <a:pPr lvl="1"/>
            <a:r>
              <a:rPr lang="en-US"/>
              <a:t>Optimization based</a:t>
            </a:r>
          </a:p>
          <a:p>
            <a:pPr lvl="1"/>
            <a:endParaRPr lang="en-US"/>
          </a:p>
        </p:txBody>
      </p:sp>
      <p:pic>
        <p:nvPicPr>
          <p:cNvPr id="21" name="Picture 2" descr="VINS-Mono: A Robust and Versatile Monocular Visual-Inertial State ...">
            <a:extLst>
              <a:ext uri="{FF2B5EF4-FFF2-40B4-BE49-F238E27FC236}">
                <a16:creationId xmlns:a16="http://schemas.microsoft.com/office/drawing/2014/main" id="{082B6560-E3B0-439C-93D7-994E511CF7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6124" y="1350646"/>
            <a:ext cx="2716911" cy="2078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DB7E45D-7380-4B73-BFDB-DA50DBCE7A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36778" y="1311024"/>
            <a:ext cx="2159921" cy="2011680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395D95C0-8847-43EA-B4E7-C6BB7AB02FF2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VINS-Mono</a:t>
            </a:r>
          </a:p>
          <a:p>
            <a:pPr lvl="1"/>
            <a:r>
              <a:rPr lang="en-US"/>
              <a:t>Addressing problems</a:t>
            </a:r>
          </a:p>
          <a:p>
            <a:pPr lvl="1"/>
            <a:r>
              <a:rPr lang="en-US"/>
              <a:t>Overview of steps</a:t>
            </a:r>
          </a:p>
          <a:p>
            <a:pPr lvl="1"/>
            <a:r>
              <a:rPr lang="en-US"/>
              <a:t>Working and formulations</a:t>
            </a:r>
          </a:p>
          <a:p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77E8147-3543-4C27-820A-204387D2F62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9551" y="1350646"/>
            <a:ext cx="2345485" cy="196253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65A6DD1-975A-4CF4-88C1-44A01D4051E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03214" y="1350646"/>
            <a:ext cx="2527430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6750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991E2-8E77-402E-909B-96989CACA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991E2-8E77-402E-909B-96989CACA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EFB7D-4E71-4B8E-B7F1-2169963A0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VINS-Mono: Pre-Process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27F6EF-411F-41B6-BAE3-3368D41070EF}"/>
              </a:ext>
            </a:extLst>
          </p:cNvPr>
          <p:cNvSpPr txBox="1"/>
          <p:nvPr/>
        </p:nvSpPr>
        <p:spPr>
          <a:xfrm>
            <a:off x="495300" y="1110852"/>
            <a:ext cx="11201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/>
              <a:t>State of the art tightly coupled non-linear optimization based SLAM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60BB099-7FF3-43DD-98E2-A2852A8EE074}"/>
              </a:ext>
            </a:extLst>
          </p:cNvPr>
          <p:cNvSpPr txBox="1"/>
          <p:nvPr/>
        </p:nvSpPr>
        <p:spPr>
          <a:xfrm>
            <a:off x="561975" y="1814349"/>
            <a:ext cx="1200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Camera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9A45451-7368-4F4D-B387-75FF1D42F1D2}"/>
              </a:ext>
            </a:extLst>
          </p:cNvPr>
          <p:cNvSpPr txBox="1"/>
          <p:nvPr/>
        </p:nvSpPr>
        <p:spPr>
          <a:xfrm>
            <a:off x="495300" y="2695795"/>
            <a:ext cx="1333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MU data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0F3D9245-2159-443A-A8E2-03F73312A438}"/>
              </a:ext>
            </a:extLst>
          </p:cNvPr>
          <p:cNvCxnSpPr>
            <a:cxnSpLocks/>
            <a:stCxn id="42" idx="3"/>
            <a:endCxn id="49" idx="1"/>
          </p:cNvCxnSpPr>
          <p:nvPr/>
        </p:nvCxnSpPr>
        <p:spPr>
          <a:xfrm>
            <a:off x="1762125" y="1999015"/>
            <a:ext cx="2933061" cy="2201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5A4093C7-B03C-41F2-95B6-E1A6E0CA7C76}"/>
              </a:ext>
            </a:extLst>
          </p:cNvPr>
          <p:cNvCxnSpPr>
            <a:cxnSpLocks/>
            <a:stCxn id="45" idx="3"/>
            <a:endCxn id="50" idx="1"/>
          </p:cNvCxnSpPr>
          <p:nvPr/>
        </p:nvCxnSpPr>
        <p:spPr>
          <a:xfrm>
            <a:off x="1828800" y="2880461"/>
            <a:ext cx="2767961" cy="2201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EFF2329-0D0F-47B7-900F-BE4F18C798DB}"/>
              </a:ext>
            </a:extLst>
          </p:cNvPr>
          <p:cNvGrpSpPr/>
          <p:nvPr/>
        </p:nvGrpSpPr>
        <p:grpSpPr>
          <a:xfrm>
            <a:off x="4412612" y="1502182"/>
            <a:ext cx="2753360" cy="1866897"/>
            <a:chOff x="6219825" y="1447800"/>
            <a:chExt cx="2753360" cy="1866897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0239F23-3D1E-4347-A2F5-7B2488A2460B}"/>
                </a:ext>
              </a:extLst>
            </p:cNvPr>
            <p:cNvSpPr txBox="1"/>
            <p:nvPr/>
          </p:nvSpPr>
          <p:spPr>
            <a:xfrm>
              <a:off x="6502399" y="1643481"/>
              <a:ext cx="2174875" cy="646331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b="1"/>
                <a:t>Feature detection and Tracking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CA14C5DC-491B-40C2-853D-9F505CD699D8}"/>
                </a:ext>
              </a:extLst>
            </p:cNvPr>
            <p:cNvSpPr txBox="1"/>
            <p:nvPr/>
          </p:nvSpPr>
          <p:spPr>
            <a:xfrm>
              <a:off x="6403974" y="2663427"/>
              <a:ext cx="2371724" cy="369332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b="1"/>
                <a:t>IMU Pre-integration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1A9D4D8B-5576-402C-9029-31885BC3E981}"/>
                </a:ext>
              </a:extLst>
            </p:cNvPr>
            <p:cNvSpPr/>
            <p:nvPr/>
          </p:nvSpPr>
          <p:spPr>
            <a:xfrm>
              <a:off x="6219825" y="1447800"/>
              <a:ext cx="2753360" cy="1866897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4476C9CB-9E09-4FD7-9494-4F3BD732A975}"/>
              </a:ext>
            </a:extLst>
          </p:cNvPr>
          <p:cNvCxnSpPr>
            <a:cxnSpLocks/>
            <a:stCxn id="49" idx="3"/>
            <a:endCxn id="55" idx="1"/>
          </p:cNvCxnSpPr>
          <p:nvPr/>
        </p:nvCxnSpPr>
        <p:spPr>
          <a:xfrm flipV="1">
            <a:off x="6870061" y="1762121"/>
            <a:ext cx="2258063" cy="2589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2F9396A0-3CAD-4FA6-846D-132C00579C7F}"/>
              </a:ext>
            </a:extLst>
          </p:cNvPr>
          <p:cNvCxnSpPr>
            <a:cxnSpLocks/>
            <a:stCxn id="49" idx="3"/>
            <a:endCxn id="56" idx="1"/>
          </p:cNvCxnSpPr>
          <p:nvPr/>
        </p:nvCxnSpPr>
        <p:spPr>
          <a:xfrm>
            <a:off x="6870061" y="2021029"/>
            <a:ext cx="2258063" cy="16760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62907C37-68A0-4123-A4A7-C74DC4C3EC88}"/>
              </a:ext>
            </a:extLst>
          </p:cNvPr>
          <p:cNvCxnSpPr>
            <a:cxnSpLocks/>
            <a:stCxn id="50" idx="3"/>
            <a:endCxn id="57" idx="1"/>
          </p:cNvCxnSpPr>
          <p:nvPr/>
        </p:nvCxnSpPr>
        <p:spPr>
          <a:xfrm>
            <a:off x="6968485" y="2902475"/>
            <a:ext cx="2159639" cy="4003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EF9F75A7-B092-46C9-9B02-75519898A77C}"/>
              </a:ext>
            </a:extLst>
          </p:cNvPr>
          <p:cNvSpPr txBox="1"/>
          <p:nvPr/>
        </p:nvSpPr>
        <p:spPr>
          <a:xfrm>
            <a:off x="9128124" y="1577455"/>
            <a:ext cx="2341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Key-point selec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DF25FD2-51FD-4708-9DC0-714D84C41F81}"/>
              </a:ext>
            </a:extLst>
          </p:cNvPr>
          <p:cNvSpPr txBox="1"/>
          <p:nvPr/>
        </p:nvSpPr>
        <p:spPr>
          <a:xfrm>
            <a:off x="9128124" y="2003965"/>
            <a:ext cx="2341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Key-point Track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C723137-1397-4873-BECA-D64E09F134B3}"/>
              </a:ext>
            </a:extLst>
          </p:cNvPr>
          <p:cNvSpPr txBox="1"/>
          <p:nvPr/>
        </p:nvSpPr>
        <p:spPr>
          <a:xfrm>
            <a:off x="9128124" y="2619339"/>
            <a:ext cx="26731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MU bias estimation</a:t>
            </a:r>
          </a:p>
          <a:p>
            <a:r>
              <a:rPr lang="en-US"/>
              <a:t>and parameteriza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A0F550C-C1C5-4CD6-B473-36930D77C3FD}"/>
              </a:ext>
            </a:extLst>
          </p:cNvPr>
          <p:cNvSpPr txBox="1"/>
          <p:nvPr/>
        </p:nvSpPr>
        <p:spPr>
          <a:xfrm>
            <a:off x="513556" y="3531731"/>
            <a:ext cx="1143079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VISION PRE-PROCESSING</a:t>
            </a:r>
            <a:br>
              <a:rPr lang="en-US" b="1"/>
            </a:br>
            <a:endParaRPr lang="en-US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Feature Detection: </a:t>
            </a:r>
            <a:r>
              <a:rPr lang="en-US"/>
              <a:t>BRIEF descriptor (rotational in-variant)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Feature Tracking: </a:t>
            </a:r>
            <a:r>
              <a:rPr lang="en-US"/>
              <a:t>KLT sparse optical flow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err="1"/>
              <a:t>Keypoint</a:t>
            </a:r>
            <a:r>
              <a:rPr lang="en-US" b="1"/>
              <a:t> Outlier rejection: </a:t>
            </a:r>
            <a:r>
              <a:rPr lang="en-US"/>
              <a:t>RANSAC + uniform special distance between </a:t>
            </a:r>
            <a:r>
              <a:rPr lang="en-US" err="1"/>
              <a:t>keypoints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Keyframe selection: </a:t>
            </a:r>
            <a:r>
              <a:rPr lang="en-US"/>
              <a:t>average parallax from previous keyframe more than threshold. Any image not a keyframe is thrown and only IMU data kept. </a:t>
            </a:r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28822562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991E2-8E77-402E-909B-96989CACA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991E2-8E77-402E-909B-96989CACA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EFB7D-4E71-4B8E-B7F1-2169963A0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VINS-Mono: Pre-Process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27F6EF-411F-41B6-BAE3-3368D41070EF}"/>
              </a:ext>
            </a:extLst>
          </p:cNvPr>
          <p:cNvSpPr txBox="1"/>
          <p:nvPr/>
        </p:nvSpPr>
        <p:spPr>
          <a:xfrm>
            <a:off x="495300" y="1110852"/>
            <a:ext cx="11201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/>
              <a:t>IMU Pre-Integr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440ECA4-87E9-42A3-ABD4-6EA02003EC20}"/>
              </a:ext>
            </a:extLst>
          </p:cNvPr>
          <p:cNvSpPr txBox="1"/>
          <p:nvPr/>
        </p:nvSpPr>
        <p:spPr>
          <a:xfrm>
            <a:off x="275432" y="1546738"/>
            <a:ext cx="37822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IMU PRE-INTEGRATION</a:t>
            </a:r>
          </a:p>
          <a:p>
            <a:endParaRPr lang="en-US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hy is it requi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hat happens in this process</a:t>
            </a:r>
            <a:endParaRPr lang="en-US" b="1"/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129D60B1-AC19-4B1B-99F6-E30F21D402FE}"/>
              </a:ext>
            </a:extLst>
          </p:cNvPr>
          <p:cNvSpPr/>
          <p:nvPr/>
        </p:nvSpPr>
        <p:spPr>
          <a:xfrm>
            <a:off x="4162425" y="1546738"/>
            <a:ext cx="704850" cy="1225037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2429C36-9795-4E26-83F1-16C982FCEC34}"/>
              </a:ext>
            </a:extLst>
          </p:cNvPr>
          <p:cNvSpPr/>
          <p:nvPr/>
        </p:nvSpPr>
        <p:spPr>
          <a:xfrm>
            <a:off x="4972050" y="1918302"/>
            <a:ext cx="3327400" cy="4572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Mathematical Formulation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156B0D5-82CF-4610-A2E8-C5C8B4C858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10162" y="3105834"/>
            <a:ext cx="3568701" cy="79393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B48F25D-F4B4-407A-8071-44B0A1C036D9}"/>
              </a:ext>
            </a:extLst>
          </p:cNvPr>
          <p:cNvSpPr txBox="1"/>
          <p:nvPr/>
        </p:nvSpPr>
        <p:spPr>
          <a:xfrm>
            <a:off x="275432" y="3105834"/>
            <a:ext cx="35687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Accelerometer and Gyroscopic measurements from IMU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653C956-B450-4DE5-AA7F-F59F1CDB330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10162" y="4385803"/>
            <a:ext cx="5757863" cy="225164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5DB23B03-C6EA-4291-91B2-3DAAFDDA6BE0}"/>
              </a:ext>
            </a:extLst>
          </p:cNvPr>
          <p:cNvSpPr txBox="1"/>
          <p:nvPr/>
        </p:nvSpPr>
        <p:spPr>
          <a:xfrm>
            <a:off x="275432" y="4823818"/>
            <a:ext cx="44545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Translation vector, Velocity vector and Rotation vector from body frame to world frame</a:t>
            </a:r>
          </a:p>
        </p:txBody>
      </p:sp>
    </p:spTree>
    <p:extLst>
      <p:ext uri="{BB962C8B-B14F-4D97-AF65-F5344CB8AC3E}">
        <p14:creationId xmlns:p14="http://schemas.microsoft.com/office/powerpoint/2010/main" val="13895139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991E2-8E77-402E-909B-96989CACA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991E2-8E77-402E-909B-96989CACA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EFB7D-4E71-4B8E-B7F1-2169963A0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VINS-Mono: Pre-Process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27F6EF-411F-41B6-BAE3-3368D41070EF}"/>
              </a:ext>
            </a:extLst>
          </p:cNvPr>
          <p:cNvSpPr txBox="1"/>
          <p:nvPr/>
        </p:nvSpPr>
        <p:spPr>
          <a:xfrm>
            <a:off x="495300" y="1110852"/>
            <a:ext cx="11201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/>
              <a:t>IMU Pre-Integration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156B0D5-82CF-4610-A2E8-C5C8B4C858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10162" y="3105834"/>
            <a:ext cx="3568701" cy="79393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B48F25D-F4B4-407A-8071-44B0A1C036D9}"/>
              </a:ext>
            </a:extLst>
          </p:cNvPr>
          <p:cNvSpPr txBox="1"/>
          <p:nvPr/>
        </p:nvSpPr>
        <p:spPr>
          <a:xfrm>
            <a:off x="275432" y="3105834"/>
            <a:ext cx="35687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Accelerometer and Gyroscopic measurements from IMU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653C956-B450-4DE5-AA7F-F59F1CDB330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10162" y="4385803"/>
            <a:ext cx="5757863" cy="225164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5DB23B03-C6EA-4291-91B2-3DAAFDDA6BE0}"/>
              </a:ext>
            </a:extLst>
          </p:cNvPr>
          <p:cNvSpPr txBox="1"/>
          <p:nvPr/>
        </p:nvSpPr>
        <p:spPr>
          <a:xfrm>
            <a:off x="275432" y="4823818"/>
            <a:ext cx="44545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Translation vector, Velocity vector and Rotation vector from body frame to world frame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3724C50-14CD-4A5F-9B35-6ED9FFF31244}"/>
              </a:ext>
            </a:extLst>
          </p:cNvPr>
          <p:cNvSpPr/>
          <p:nvPr/>
        </p:nvSpPr>
        <p:spPr>
          <a:xfrm>
            <a:off x="355598" y="1524134"/>
            <a:ext cx="11617729" cy="1095668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BE5EBD4-C031-4BA5-B1BE-2EBC07F30E87}"/>
                  </a:ext>
                </a:extLst>
              </p:cNvPr>
              <p:cNvSpPr txBox="1"/>
              <p:nvPr/>
            </p:nvSpPr>
            <p:spPr>
              <a:xfrm>
                <a:off x="495300" y="1556645"/>
                <a:ext cx="1120140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>
                    <a:solidFill>
                      <a:schemeClr val="tx1"/>
                    </a:solidFill>
                  </a:rPr>
                  <a:t>Why pre-integration?</a:t>
                </a:r>
              </a:p>
              <a:p>
                <a:r>
                  <a:rPr lang="en-US" b="1">
                    <a:solidFill>
                      <a:schemeClr val="tx1"/>
                    </a:solidFill>
                  </a:rPr>
                  <a:t>NOTE: </a:t>
                </a:r>
                <a:r>
                  <a:rPr lang="en-US">
                    <a:solidFill>
                      <a:schemeClr val="tx1"/>
                    </a:solidFill>
                  </a:rPr>
                  <a:t>All these vectors use reference from previous measureme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𝐾</m:t>
                        </m:r>
                      </m:sub>
                    </m:sSub>
                  </m:oMath>
                </a14:m>
                <a:r>
                  <a:rPr lang="en-US" b="1">
                    <a:solidFill>
                      <a:schemeClr val="tx1"/>
                    </a:solidFill>
                  </a:rPr>
                  <a:t> </a:t>
                </a:r>
                <a:r>
                  <a:rPr lang="en-US">
                    <a:solidFill>
                      <a:schemeClr val="tx1"/>
                    </a:solidFill>
                  </a:rPr>
                  <a:t>so if we find that an old estimation was slightly wrong, we need to re-</a:t>
                </a:r>
                <a:r>
                  <a:rPr lang="en-US" err="1">
                    <a:solidFill>
                      <a:schemeClr val="tx1"/>
                    </a:solidFill>
                  </a:rPr>
                  <a:t>propogate</a:t>
                </a:r>
                <a:r>
                  <a:rPr lang="en-US">
                    <a:solidFill>
                      <a:schemeClr val="tx1"/>
                    </a:solidFill>
                  </a:rPr>
                  <a:t> back to all those steps if same formulae are used.</a:t>
                </a:r>
                <a:endParaRPr lang="en-US" b="1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BE5EBD4-C031-4BA5-B1BE-2EBC07F30E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300" y="1556645"/>
                <a:ext cx="11201400" cy="923330"/>
              </a:xfrm>
              <a:prstGeom prst="rect">
                <a:avLst/>
              </a:prstGeom>
              <a:blipFill>
                <a:blip r:embed="rId8"/>
                <a:stretch>
                  <a:fillRect l="-435" t="-3289" b="-92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492303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991E2-8E77-402E-909B-96989CACAC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991E2-8E77-402E-909B-96989CACA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EFB7D-4E71-4B8E-B7F1-2169963A0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VINS-Mono: Pre-Process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27F6EF-411F-41B6-BAE3-3368D41070EF}"/>
              </a:ext>
            </a:extLst>
          </p:cNvPr>
          <p:cNvSpPr txBox="1"/>
          <p:nvPr/>
        </p:nvSpPr>
        <p:spPr>
          <a:xfrm>
            <a:off x="495300" y="1110852"/>
            <a:ext cx="11201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/>
              <a:t>IMU Pre-Integr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95A268-40C1-4A23-A72E-DF574F9D7EF5}"/>
              </a:ext>
            </a:extLst>
          </p:cNvPr>
          <p:cNvSpPr txBox="1"/>
          <p:nvPr/>
        </p:nvSpPr>
        <p:spPr>
          <a:xfrm>
            <a:off x="504825" y="1647538"/>
            <a:ext cx="41231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New vector estimates which do not directly use previous measurements</a:t>
            </a:r>
          </a:p>
          <a:p>
            <a:r>
              <a:rPr lang="en-US"/>
              <a:t>Changing from world to body frame: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2A21324-7178-476E-8F64-383280E4C9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6431" y="1547835"/>
            <a:ext cx="5591175" cy="136038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B1883F0-095E-4EFE-AA55-86BC8376F579}"/>
              </a:ext>
            </a:extLst>
          </p:cNvPr>
          <p:cNvSpPr txBox="1"/>
          <p:nvPr/>
        </p:nvSpPr>
        <p:spPr>
          <a:xfrm>
            <a:off x="504825" y="3844717"/>
            <a:ext cx="41231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Here, </a:t>
            </a:r>
            <a:r>
              <a:rPr lang="el-GR" b="1"/>
              <a:t> α</a:t>
            </a:r>
            <a:r>
              <a:rPr lang="en-US" b="1"/>
              <a:t> (alpha), </a:t>
            </a:r>
            <a:r>
              <a:rPr lang="el-GR" b="1"/>
              <a:t>β</a:t>
            </a:r>
            <a:r>
              <a:rPr lang="en-US" b="1"/>
              <a:t> (beta), </a:t>
            </a:r>
            <a:r>
              <a:rPr lang="el-GR" b="1"/>
              <a:t>γ</a:t>
            </a:r>
            <a:r>
              <a:rPr lang="en-US" b="1"/>
              <a:t> (gamma) only depend on bias and not on any previous stat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6EAD337-7E03-4459-9959-1114BA4323E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26431" y="3362085"/>
            <a:ext cx="5688013" cy="233643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AEEA2AD-6B90-484D-963E-38285E3B9C0A}"/>
              </a:ext>
            </a:extLst>
          </p:cNvPr>
          <p:cNvSpPr txBox="1"/>
          <p:nvPr/>
        </p:nvSpPr>
        <p:spPr>
          <a:xfrm>
            <a:off x="3176" y="5987648"/>
            <a:ext cx="12188824" cy="369332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So we need not to re-</a:t>
            </a:r>
            <a:r>
              <a:rPr lang="en-US" b="1" err="1">
                <a:solidFill>
                  <a:schemeClr val="bg1"/>
                </a:solidFill>
              </a:rPr>
              <a:t>propogate</a:t>
            </a:r>
            <a:r>
              <a:rPr lang="en-US" b="1">
                <a:solidFill>
                  <a:schemeClr val="bg1"/>
                </a:solidFill>
              </a:rPr>
              <a:t> whenever our bias estimate “b” changes</a:t>
            </a:r>
          </a:p>
        </p:txBody>
      </p:sp>
    </p:spTree>
    <p:extLst>
      <p:ext uri="{BB962C8B-B14F-4D97-AF65-F5344CB8AC3E}">
        <p14:creationId xmlns:p14="http://schemas.microsoft.com/office/powerpoint/2010/main" val="12647136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114182-7763-4201-AE69-E7F4CF692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2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989A04-2005-455B-8118-F00C9774F8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1" y="6115556"/>
            <a:ext cx="12192000" cy="352423"/>
          </a:xfrm>
        </p:spPr>
        <p:txBody>
          <a:bodyPr/>
          <a:lstStyle/>
          <a:p>
            <a:r>
              <a:rPr lang="en-US" sz="1800"/>
              <a:t>Finally, position, velocity are scaled and provided to core-VIO algorithm for successive upda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9CBE9C7-C8EA-4F61-B136-EEE584996E7C}"/>
              </a:ext>
            </a:extLst>
          </p:cNvPr>
          <p:cNvSpPr/>
          <p:nvPr/>
        </p:nvSpPr>
        <p:spPr>
          <a:xfrm>
            <a:off x="495299" y="1409700"/>
            <a:ext cx="3107437" cy="8031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Structure from Motion (</a:t>
            </a:r>
            <a:r>
              <a:rPr lang="en-US" sz="2000" b="1" err="1">
                <a:solidFill>
                  <a:schemeClr val="bg1"/>
                </a:solidFill>
                <a:latin typeface="+mj-lt"/>
              </a:rPr>
              <a:t>SfM</a:t>
            </a:r>
            <a:r>
              <a:rPr lang="en-US" sz="2000" b="1">
                <a:solidFill>
                  <a:schemeClr val="bg1"/>
                </a:solidFill>
                <a:latin typeface="+mj-lt"/>
              </a:rPr>
              <a:t>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2C169B43-1725-43B8-875D-0E31022405A8}"/>
                  </a:ext>
                </a:extLst>
              </p:cNvPr>
              <p:cNvSpPr/>
              <p:nvPr/>
            </p:nvSpPr>
            <p:spPr>
              <a:xfrm>
                <a:off x="495299" y="2212848"/>
                <a:ext cx="3107437" cy="3451352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spcAft>
                    <a:spcPts val="600"/>
                  </a:spcAft>
                </a:pPr>
                <a:r>
                  <a:rPr lang="en-US" sz="2000" b="1">
                    <a:solidFill>
                      <a:prstClr val="black"/>
                    </a:solidFill>
                  </a:rPr>
                  <a:t>Visual-only SLAM</a:t>
                </a:r>
              </a:p>
              <a:p>
                <a:pPr marL="230188" lvl="1" indent="-230188">
                  <a:spcAft>
                    <a:spcPts val="600"/>
                  </a:spcAft>
                  <a:buClr>
                    <a:srgbClr val="DC202E"/>
                  </a:buClr>
                  <a:buFont typeface="Arial" panose="020B0604020202020204" pitchFamily="34" charset="0"/>
                  <a:buChar char="•"/>
                </a:pPr>
                <a:r>
                  <a:rPr lang="en-US" sz="2000">
                    <a:solidFill>
                      <a:prstClr val="black"/>
                    </a:solidFill>
                  </a:rPr>
                  <a:t>Gives </a:t>
                </a:r>
                <a:r>
                  <a:rPr lang="en-US" sz="2000" err="1">
                    <a:solidFill>
                      <a:prstClr val="black"/>
                    </a:solidFill>
                  </a:rPr>
                  <a:t>upto</a:t>
                </a:r>
                <a:r>
                  <a:rPr lang="en-US" sz="2000">
                    <a:solidFill>
                      <a:prstClr val="black"/>
                    </a:solidFill>
                  </a:rPr>
                  <a:t> scale estimates using </a:t>
                </a:r>
                <a:r>
                  <a:rPr lang="en-US" sz="2000" b="1">
                    <a:solidFill>
                      <a:prstClr val="black"/>
                    </a:solidFill>
                  </a:rPr>
                  <a:t>5-point algorithm </a:t>
                </a:r>
                <a:r>
                  <a:rPr lang="en-US" sz="2000">
                    <a:solidFill>
                      <a:prstClr val="black"/>
                    </a:solidFill>
                  </a:rPr>
                  <a:t>in first camera frame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sz="2000">
                    <a:solidFill>
                      <a:prstClr val="black"/>
                    </a:solidFill>
                  </a:rPr>
                  <a:t>)</a:t>
                </a:r>
              </a:p>
              <a:p>
                <a:pPr marL="230188" lvl="1" indent="-230188">
                  <a:spcAft>
                    <a:spcPts val="600"/>
                  </a:spcAft>
                  <a:buClr>
                    <a:srgbClr val="DC202E"/>
                  </a:buClr>
                  <a:buFont typeface="Arial" panose="020B0604020202020204" pitchFamily="34" charset="0"/>
                  <a:buChar char="•"/>
                </a:pPr>
                <a:r>
                  <a:rPr lang="en-US" sz="2000">
                    <a:solidFill>
                      <a:prstClr val="black"/>
                    </a:solidFill>
                  </a:rPr>
                  <a:t>It gives line (in 3D space) on which a feature would lie. Only thing it requires now is scale.</a:t>
                </a:r>
                <a:endParaRPr lang="en-US">
                  <a:solidFill>
                    <a:prstClr val="black"/>
                  </a:solidFill>
                </a:endParaRPr>
              </a:p>
            </p:txBody>
          </p:sp>
        </mc:Choice>
        <mc:Fallback xmlns="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2C169B43-1725-43B8-875D-0E31022405A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299" y="2212848"/>
                <a:ext cx="3107437" cy="3451352"/>
              </a:xfrm>
              <a:prstGeom prst="rect">
                <a:avLst/>
              </a:prstGeom>
              <a:blipFill>
                <a:blip r:embed="rId7"/>
                <a:stretch>
                  <a:fillRect l="-1961" r="-392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88F08A5B-486A-4CA0-B198-61F30E54226C}"/>
              </a:ext>
            </a:extLst>
          </p:cNvPr>
          <p:cNvSpPr/>
          <p:nvPr/>
        </p:nvSpPr>
        <p:spPr>
          <a:xfrm>
            <a:off x="4654776" y="1425827"/>
            <a:ext cx="3107437" cy="77483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Visual-Inertial Align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3D1632C-F8D2-48DC-A353-E212F21AA225}"/>
              </a:ext>
            </a:extLst>
          </p:cNvPr>
          <p:cNvSpPr/>
          <p:nvPr/>
        </p:nvSpPr>
        <p:spPr>
          <a:xfrm>
            <a:off x="4654775" y="2212848"/>
            <a:ext cx="3107437" cy="345135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>
                <a:solidFill>
                  <a:prstClr val="black"/>
                </a:solidFill>
              </a:rPr>
              <a:t>Using visual data for bias correction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prstClr val="black"/>
                </a:solidFill>
              </a:rPr>
              <a:t>Optimizes rotational error between 2 consecutive frames to give gyroscopic bias estimation (gives gamma)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prstClr val="black"/>
                </a:solidFill>
              </a:rPr>
              <a:t>Alpha, beta are written in terms of sca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458FB8-AF2D-447C-8CBA-11D1EE5E9058}"/>
              </a:ext>
            </a:extLst>
          </p:cNvPr>
          <p:cNvSpPr/>
          <p:nvPr/>
        </p:nvSpPr>
        <p:spPr>
          <a:xfrm>
            <a:off x="8814254" y="1409700"/>
            <a:ext cx="3107437" cy="8031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Final optimizing step for scale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0B8571-ACCB-49CE-892B-FD8CE1E91FEA}"/>
              </a:ext>
            </a:extLst>
          </p:cNvPr>
          <p:cNvSpPr/>
          <p:nvPr/>
        </p:nvSpPr>
        <p:spPr>
          <a:xfrm>
            <a:off x="8814255" y="2200662"/>
            <a:ext cx="3107437" cy="35184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000" b="1">
                <a:solidFill>
                  <a:prstClr val="black"/>
                </a:solidFill>
              </a:rPr>
              <a:t>Optimizing for scale to minimize error in measurement </a:t>
            </a:r>
          </a:p>
          <a:p>
            <a:pPr marL="230188" lvl="1" indent="-230188"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prstClr val="black"/>
                </a:solidFill>
              </a:rPr>
              <a:t>We have gamma and alpha, beta are written in terms of scale. Now the error between current and previous state (in terms of scale) is minimized to give us scale measurement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52640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VINS-Mono: INITIALIZATION</a:t>
            </a:r>
            <a:br>
              <a:rPr lang="en-US" b="1"/>
            </a:br>
            <a:r>
              <a:rPr lang="en-US" sz="1800" b="1"/>
              <a:t>i</a:t>
            </a:r>
            <a:r>
              <a:rPr lang="en-US" sz="1800" b="1">
                <a:latin typeface="+mn-lt"/>
              </a:rPr>
              <a:t>nitial estimate of position, orientation, velocity, scale, bias</a:t>
            </a:r>
            <a:endParaRPr lang="en-US" b="1">
              <a:latin typeface="+mn-lt"/>
            </a:endParaRP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5B504178-3AA5-4C05-927C-35A15478FE4E}"/>
              </a:ext>
            </a:extLst>
          </p:cNvPr>
          <p:cNvSpPr/>
          <p:nvPr/>
        </p:nvSpPr>
        <p:spPr>
          <a:xfrm>
            <a:off x="3675888" y="1609344"/>
            <a:ext cx="924023" cy="352423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10B5D923-31BC-4340-B375-6260822AC4E0}"/>
              </a:ext>
            </a:extLst>
          </p:cNvPr>
          <p:cNvSpPr/>
          <p:nvPr/>
        </p:nvSpPr>
        <p:spPr>
          <a:xfrm>
            <a:off x="7833360" y="1597152"/>
            <a:ext cx="924023" cy="352423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979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VINS-Mono: INITIALIZATION</a:t>
            </a:r>
            <a:br>
              <a:rPr lang="en-US" b="1"/>
            </a:br>
            <a:r>
              <a:rPr lang="en-US" sz="1800" b="1"/>
              <a:t>i</a:t>
            </a:r>
            <a:r>
              <a:rPr lang="en-US" sz="1800" b="1">
                <a:latin typeface="+mn-lt"/>
              </a:rPr>
              <a:t>nitial estimate of position, orientation, velocity, scale, bias</a:t>
            </a:r>
            <a:endParaRPr lang="en-US" b="1">
              <a:latin typeface="+mn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57599D97-7558-4008-8816-445FEFDB4386}"/>
                  </a:ext>
                </a:extLst>
              </p:cNvPr>
              <p:cNvSpPr txBox="1"/>
              <p:nvPr/>
            </p:nvSpPr>
            <p:spPr>
              <a:xfrm>
                <a:off x="957260" y="2849777"/>
                <a:ext cx="438150" cy="3820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𝑏𝐾</m:t>
                          </m:r>
                        </m:sub>
                        <m: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p>
                      </m:sSubSup>
                    </m:oMath>
                  </m:oMathPara>
                </a14:m>
                <a:endParaRPr lang="en-US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57599D97-7558-4008-8816-445FEFDB43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7260" y="2849777"/>
                <a:ext cx="438150" cy="382028"/>
              </a:xfrm>
              <a:prstGeom prst="rect">
                <a:avLst/>
              </a:prstGeom>
              <a:blipFill>
                <a:blip r:embed="rId7"/>
                <a:stretch>
                  <a:fillRect r="-12500" b="-793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8F184F82-520A-49E9-991B-9FC537A39204}"/>
                  </a:ext>
                </a:extLst>
              </p:cNvPr>
              <p:cNvSpPr txBox="1"/>
              <p:nvPr/>
            </p:nvSpPr>
            <p:spPr>
              <a:xfrm>
                <a:off x="2309810" y="2859302"/>
                <a:ext cx="438150" cy="3820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𝑏𝐾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p>
                      </m:sSubSup>
                    </m:oMath>
                  </m:oMathPara>
                </a14:m>
                <a:endParaRPr lang="en-US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8F184F82-520A-49E9-991B-9FC537A39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09810" y="2859302"/>
                <a:ext cx="438150" cy="382028"/>
              </a:xfrm>
              <a:prstGeom prst="rect">
                <a:avLst/>
              </a:prstGeom>
              <a:blipFill>
                <a:blip r:embed="rId8"/>
                <a:stretch>
                  <a:fillRect r="-62500" b="-793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7" name="TextBox 76">
            <a:extLst>
              <a:ext uri="{FF2B5EF4-FFF2-40B4-BE49-F238E27FC236}">
                <a16:creationId xmlns:a16="http://schemas.microsoft.com/office/drawing/2014/main" id="{BD545217-0B4E-41DB-B553-B2E491A45B97}"/>
              </a:ext>
            </a:extLst>
          </p:cNvPr>
          <p:cNvSpPr txBox="1"/>
          <p:nvPr/>
        </p:nvSpPr>
        <p:spPr>
          <a:xfrm>
            <a:off x="1338260" y="3414856"/>
            <a:ext cx="1247773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From </a:t>
            </a:r>
            <a:r>
              <a:rPr lang="en-US" b="1" err="1">
                <a:solidFill>
                  <a:schemeClr val="bg1"/>
                </a:solidFill>
              </a:rPr>
              <a:t>SfM</a:t>
            </a:r>
            <a:endParaRPr lang="en-US" b="1">
              <a:solidFill>
                <a:schemeClr val="bg1"/>
              </a:solidFill>
            </a:endParaRPr>
          </a:p>
        </p:txBody>
      </p:sp>
      <p:cxnSp>
        <p:nvCxnSpPr>
          <p:cNvPr id="78" name="Connector: Elbow 77">
            <a:extLst>
              <a:ext uri="{FF2B5EF4-FFF2-40B4-BE49-F238E27FC236}">
                <a16:creationId xmlns:a16="http://schemas.microsoft.com/office/drawing/2014/main" id="{872E10B5-BFC3-44FD-B2BD-D72798BBC14F}"/>
              </a:ext>
            </a:extLst>
          </p:cNvPr>
          <p:cNvCxnSpPr>
            <a:cxnSpLocks/>
            <a:stCxn id="77" idx="3"/>
          </p:cNvCxnSpPr>
          <p:nvPr/>
        </p:nvCxnSpPr>
        <p:spPr>
          <a:xfrm flipV="1">
            <a:off x="2586033" y="3312038"/>
            <a:ext cx="161927" cy="287484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or: Elbow 78">
            <a:extLst>
              <a:ext uri="{FF2B5EF4-FFF2-40B4-BE49-F238E27FC236}">
                <a16:creationId xmlns:a16="http://schemas.microsoft.com/office/drawing/2014/main" id="{DC392C95-47C3-4EB7-9AAA-124E9BC181D8}"/>
              </a:ext>
            </a:extLst>
          </p:cNvPr>
          <p:cNvCxnSpPr>
            <a:cxnSpLocks/>
            <a:stCxn id="77" idx="1"/>
          </p:cNvCxnSpPr>
          <p:nvPr/>
        </p:nvCxnSpPr>
        <p:spPr>
          <a:xfrm rot="10800000">
            <a:off x="1033460" y="3294364"/>
            <a:ext cx="304800" cy="305159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" name="Picture 79">
            <a:extLst>
              <a:ext uri="{FF2B5EF4-FFF2-40B4-BE49-F238E27FC236}">
                <a16:creationId xmlns:a16="http://schemas.microsoft.com/office/drawing/2014/main" id="{6DF5DEFE-9AB3-4C0B-8C19-D4398EEB572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5298" y="4452119"/>
            <a:ext cx="2076448" cy="832994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0B6A0707-FAC2-4C07-8515-837640CDECA1}"/>
              </a:ext>
            </a:extLst>
          </p:cNvPr>
          <p:cNvSpPr txBox="1"/>
          <p:nvPr/>
        </p:nvSpPr>
        <p:spPr>
          <a:xfrm>
            <a:off x="495298" y="3807323"/>
            <a:ext cx="40671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Equation governing translation and rotation in camera frame</a:t>
            </a: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B7C18EF9-C1A7-4493-9A94-4F95EAAAAC0E}"/>
              </a:ext>
            </a:extLst>
          </p:cNvPr>
          <p:cNvCxnSpPr/>
          <p:nvPr/>
        </p:nvCxnSpPr>
        <p:spPr>
          <a:xfrm>
            <a:off x="653200" y="5283712"/>
            <a:ext cx="0" cy="42862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E7AC71BC-563C-4123-825D-85F479990E7D}"/>
              </a:ext>
            </a:extLst>
          </p:cNvPr>
          <p:cNvCxnSpPr/>
          <p:nvPr/>
        </p:nvCxnSpPr>
        <p:spPr>
          <a:xfrm>
            <a:off x="1988220" y="5263720"/>
            <a:ext cx="0" cy="39052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85736C82-7CCB-4A50-A747-D9430BCFF627}"/>
              </a:ext>
            </a:extLst>
          </p:cNvPr>
          <p:cNvSpPr txBox="1"/>
          <p:nvPr/>
        </p:nvSpPr>
        <p:spPr>
          <a:xfrm>
            <a:off x="495298" y="5401875"/>
            <a:ext cx="53673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Alpha/Beta in terms of scale and IMU readings</a:t>
            </a:r>
          </a:p>
        </p:txBody>
      </p:sp>
      <p:pic>
        <p:nvPicPr>
          <p:cNvPr id="85" name="Picture 84">
            <a:extLst>
              <a:ext uri="{FF2B5EF4-FFF2-40B4-BE49-F238E27FC236}">
                <a16:creationId xmlns:a16="http://schemas.microsoft.com/office/drawing/2014/main" id="{F35BFBD3-E747-43F3-82DD-26ED23795FB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6755" b="2024"/>
          <a:stretch/>
        </p:blipFill>
        <p:spPr>
          <a:xfrm>
            <a:off x="7542343" y="1504874"/>
            <a:ext cx="4233190" cy="1519531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D49394CC-EE0E-4D64-877E-E5E6D4B76F0D}"/>
              </a:ext>
            </a:extLst>
          </p:cNvPr>
          <p:cNvSpPr txBox="1"/>
          <p:nvPr/>
        </p:nvSpPr>
        <p:spPr>
          <a:xfrm>
            <a:off x="3633948" y="1601072"/>
            <a:ext cx="36480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Error optimization cost for bias estimation 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19C42349-C451-4829-AB23-0B904C8D6FDA}"/>
              </a:ext>
            </a:extLst>
          </p:cNvPr>
          <p:cNvSpPr txBox="1"/>
          <p:nvPr/>
        </p:nvSpPr>
        <p:spPr>
          <a:xfrm>
            <a:off x="3659970" y="2259722"/>
            <a:ext cx="3048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/>
              <a:t>From IMU pre-integration</a:t>
            </a: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A78A6529-8D18-4B14-8270-9B45768A5488}"/>
              </a:ext>
            </a:extLst>
          </p:cNvPr>
          <p:cNvCxnSpPr>
            <a:cxnSpLocks/>
          </p:cNvCxnSpPr>
          <p:nvPr/>
        </p:nvCxnSpPr>
        <p:spPr>
          <a:xfrm flipV="1">
            <a:off x="6434135" y="3129106"/>
            <a:ext cx="0" cy="27866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ight Brace 88">
            <a:extLst>
              <a:ext uri="{FF2B5EF4-FFF2-40B4-BE49-F238E27FC236}">
                <a16:creationId xmlns:a16="http://schemas.microsoft.com/office/drawing/2014/main" id="{69037BBE-3F6B-4172-A62E-12F70ED6DDD6}"/>
              </a:ext>
            </a:extLst>
          </p:cNvPr>
          <p:cNvSpPr/>
          <p:nvPr/>
        </p:nvSpPr>
        <p:spPr>
          <a:xfrm>
            <a:off x="2702586" y="4700586"/>
            <a:ext cx="309499" cy="639638"/>
          </a:xfrm>
          <a:prstGeom prst="righ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C59840A9-B621-4438-AD32-4CC01F66D945}"/>
              </a:ext>
            </a:extLst>
          </p:cNvPr>
          <p:cNvSpPr/>
          <p:nvPr/>
        </p:nvSpPr>
        <p:spPr>
          <a:xfrm>
            <a:off x="7463856" y="3130515"/>
            <a:ext cx="4337897" cy="76137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435EE7FD-23FE-4CC8-A086-B946E0FE7896}"/>
              </a:ext>
            </a:extLst>
          </p:cNvPr>
          <p:cNvSpPr txBox="1"/>
          <p:nvPr/>
        </p:nvSpPr>
        <p:spPr>
          <a:xfrm>
            <a:off x="7542343" y="3142139"/>
            <a:ext cx="425941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/>
              <a:t>Now we have good estimate of gamma and alpha, beta are written in terms of scale. The reading (z) at any given frame can be written as</a:t>
            </a:r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3C490925-0D7B-4291-A9C9-3C993F6018D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5298" y="5726140"/>
            <a:ext cx="5524497" cy="926303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5E3855D7-65FE-4663-A96A-A3715F85176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97340" y="3264392"/>
            <a:ext cx="3074073" cy="426955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BABF1838-6BDD-4F60-9BFB-65B4D87D5B7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088059" y="3930251"/>
            <a:ext cx="4945735" cy="1876730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A16082F4-3199-4551-B8A6-6FD95BBD0F6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352825" y="5856429"/>
            <a:ext cx="2680969" cy="682541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cxnSp>
        <p:nvCxnSpPr>
          <p:cNvPr id="96" name="Connector: Elbow 95">
            <a:extLst>
              <a:ext uri="{FF2B5EF4-FFF2-40B4-BE49-F238E27FC236}">
                <a16:creationId xmlns:a16="http://schemas.microsoft.com/office/drawing/2014/main" id="{9E11C658-2017-46F7-B37F-716E97D89B71}"/>
              </a:ext>
            </a:extLst>
          </p:cNvPr>
          <p:cNvCxnSpPr>
            <a:cxnSpLocks/>
            <a:endCxn id="87" idx="2"/>
          </p:cNvCxnSpPr>
          <p:nvPr/>
        </p:nvCxnSpPr>
        <p:spPr>
          <a:xfrm flipV="1">
            <a:off x="3195635" y="2629054"/>
            <a:ext cx="1988335" cy="416284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9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4D62E69F-4CA9-4D30-A005-AA0703F5F8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986" y="1356187"/>
            <a:ext cx="985835" cy="147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E1697112-CA2A-40E6-99F3-414A1883D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08199">
            <a:off x="2089609" y="1250376"/>
            <a:ext cx="985835" cy="147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9F500F6B-CFAF-4902-8C79-5145BFD17048}"/>
              </a:ext>
            </a:extLst>
          </p:cNvPr>
          <p:cNvSpPr txBox="1"/>
          <p:nvPr/>
        </p:nvSpPr>
        <p:spPr>
          <a:xfrm>
            <a:off x="7542343" y="1276769"/>
            <a:ext cx="1418319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solidFill>
                  <a:schemeClr val="bg1"/>
                </a:solidFill>
              </a:rPr>
              <a:t>OPTIMIZATION 1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DFAD95F1-965A-4074-8A87-447B674F4A1C}"/>
              </a:ext>
            </a:extLst>
          </p:cNvPr>
          <p:cNvSpPr txBox="1"/>
          <p:nvPr/>
        </p:nvSpPr>
        <p:spPr>
          <a:xfrm>
            <a:off x="7934506" y="6089977"/>
            <a:ext cx="1418319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solidFill>
                  <a:schemeClr val="bg1"/>
                </a:solidFill>
              </a:rPr>
              <a:t>OPTIMIZATION 2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1D14DCFD-2905-479D-8E33-C326EC186215}"/>
              </a:ext>
            </a:extLst>
          </p:cNvPr>
          <p:cNvSpPr txBox="1"/>
          <p:nvPr/>
        </p:nvSpPr>
        <p:spPr>
          <a:xfrm>
            <a:off x="9028837" y="1276769"/>
            <a:ext cx="122945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/>
              <a:t>Gives gamma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6622872B-F498-4BB8-909E-84EA843E1712}"/>
              </a:ext>
            </a:extLst>
          </p:cNvPr>
          <p:cNvSpPr txBox="1"/>
          <p:nvPr/>
        </p:nvSpPr>
        <p:spPr>
          <a:xfrm>
            <a:off x="6610622" y="6081569"/>
            <a:ext cx="122945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/>
              <a:t>Gives Scale</a:t>
            </a:r>
          </a:p>
        </p:txBody>
      </p:sp>
    </p:spTree>
    <p:extLst>
      <p:ext uri="{BB962C8B-B14F-4D97-AF65-F5344CB8AC3E}">
        <p14:creationId xmlns:p14="http://schemas.microsoft.com/office/powerpoint/2010/main" val="6486885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VINS-Mono: Core VIO Algorithm</a:t>
            </a:r>
            <a:endParaRPr lang="en-US" b="1"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523500-1F01-4D4A-A09A-E68046B049CB}"/>
              </a:ext>
            </a:extLst>
          </p:cNvPr>
          <p:cNvSpPr txBox="1"/>
          <p:nvPr/>
        </p:nvSpPr>
        <p:spPr>
          <a:xfrm>
            <a:off x="495297" y="882796"/>
            <a:ext cx="85335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/>
              <a:t>Using previous state and new visual and IMU data to update the state estimate</a:t>
            </a:r>
          </a:p>
        </p:txBody>
      </p:sp>
      <p:pic>
        <p:nvPicPr>
          <p:cNvPr id="34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0E0B13AA-136F-48B5-A8C5-B52736686D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4255" y="1631032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0359B2C3-5757-4E0D-B561-435B8469AE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7117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83C65A4C-A015-4A2B-BDFB-45CFE01D9D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367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31D13C7D-68DA-44B4-B1E4-5A6F5380D1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1717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FDF37433-52AD-43E3-BDF5-FB61743733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8542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12347F15-3285-4248-A5A7-1FE8446BD8A9}"/>
              </a:ext>
            </a:extLst>
          </p:cNvPr>
          <p:cNvSpPr/>
          <p:nvPr/>
        </p:nvSpPr>
        <p:spPr>
          <a:xfrm>
            <a:off x="6670279" y="1459289"/>
            <a:ext cx="5133974" cy="2049244"/>
          </a:xfrm>
          <a:prstGeom prst="rect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B71BEC4-7C4C-4A6C-9A40-20D0A32D252E}"/>
              </a:ext>
            </a:extLst>
          </p:cNvPr>
          <p:cNvSpPr txBox="1"/>
          <p:nvPr/>
        </p:nvSpPr>
        <p:spPr>
          <a:xfrm>
            <a:off x="8576072" y="3508533"/>
            <a:ext cx="19724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liding Window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E3F1AAE-2DE1-4E64-AE15-363A1FE85031}"/>
              </a:ext>
            </a:extLst>
          </p:cNvPr>
          <p:cNvSpPr txBox="1"/>
          <p:nvPr/>
        </p:nvSpPr>
        <p:spPr>
          <a:xfrm>
            <a:off x="3444479" y="3443900"/>
            <a:ext cx="7897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Priori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CB8F225-1178-4252-88E3-FFE9F1D59725}"/>
              </a:ext>
            </a:extLst>
          </p:cNvPr>
          <p:cNvSpPr txBox="1"/>
          <p:nvPr/>
        </p:nvSpPr>
        <p:spPr>
          <a:xfrm>
            <a:off x="6545898" y="1129938"/>
            <a:ext cx="5471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This module works only on Sliding Window part</a:t>
            </a:r>
          </a:p>
        </p:txBody>
      </p:sp>
      <p:pic>
        <p:nvPicPr>
          <p:cNvPr id="46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81E28134-7A7B-4E6C-A7FF-AA241BACDE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430" y="1650082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9E32A9A7-50E1-4ACB-A268-FBFC61BB5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5205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15A77B17-5CC4-4F66-B7DE-7FCCFC7816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8380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9AEB76D9-7E1F-423F-8097-CD84874E97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0130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8EAB33F8-A3E8-4CFC-B3ED-64C93F910E3D}"/>
              </a:ext>
            </a:extLst>
          </p:cNvPr>
          <p:cNvSpPr txBox="1"/>
          <p:nvPr/>
        </p:nvSpPr>
        <p:spPr>
          <a:xfrm>
            <a:off x="377430" y="4077571"/>
            <a:ext cx="1142682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f second latest image </a:t>
            </a:r>
            <a:r>
              <a:rPr lang="en-US" b="1"/>
              <a:t>not</a:t>
            </a:r>
            <a:r>
              <a:rPr lang="en-US"/>
              <a:t> a keyframe: its image data is thrown and only IMU kept. No frame marginalized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f second latest </a:t>
            </a:r>
            <a:r>
              <a:rPr lang="en-US" b="1"/>
              <a:t>image</a:t>
            </a:r>
            <a:r>
              <a:rPr lang="en-US"/>
              <a:t> is a keyframe: oldest frame in sliding window marginalized (converted to prior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r>
              <a:rPr lang="en-US" b="1"/>
              <a:t>AIM: </a:t>
            </a:r>
            <a:r>
              <a:rPr lang="en-US"/>
              <a:t>Keep latest and spatially separated keyframes in the window</a:t>
            </a:r>
          </a:p>
          <a:p>
            <a:endParaRPr lang="en-US" b="1"/>
          </a:p>
          <a:p>
            <a:pPr algn="ctr"/>
            <a:r>
              <a:rPr lang="en-US" b="1"/>
              <a:t>Failure Detection </a:t>
            </a:r>
            <a:r>
              <a:rPr lang="en-US"/>
              <a:t>and </a:t>
            </a:r>
            <a:r>
              <a:rPr lang="en-US" b="1"/>
              <a:t>Bundle Adjustment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478E053F-F4D9-40A8-9D08-658B96FD58E3}"/>
              </a:ext>
            </a:extLst>
          </p:cNvPr>
          <p:cNvCxnSpPr>
            <a:stCxn id="35" idx="2"/>
            <a:endCxn id="47" idx="2"/>
          </p:cNvCxnSpPr>
          <p:nvPr/>
        </p:nvCxnSpPr>
        <p:spPr>
          <a:xfrm rot="5400000">
            <a:off x="6671867" y="2678091"/>
            <a:ext cx="12700" cy="1331912"/>
          </a:xfrm>
          <a:prstGeom prst="bentConnector3">
            <a:avLst>
              <a:gd name="adj1" fmla="val 3675000"/>
            </a:avLst>
          </a:prstGeom>
          <a:ln w="9525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7B68D028-04D2-4D00-9CCF-DDD158F92232}"/>
              </a:ext>
            </a:extLst>
          </p:cNvPr>
          <p:cNvSpPr txBox="1"/>
          <p:nvPr/>
        </p:nvSpPr>
        <p:spPr>
          <a:xfrm>
            <a:off x="6154342" y="3694855"/>
            <a:ext cx="104775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>
                <a:solidFill>
                  <a:schemeClr val="bg1"/>
                </a:solidFill>
              </a:rPr>
              <a:t>marginalized</a:t>
            </a:r>
          </a:p>
        </p:txBody>
      </p:sp>
    </p:spTree>
    <p:extLst>
      <p:ext uri="{BB962C8B-B14F-4D97-AF65-F5344CB8AC3E}">
        <p14:creationId xmlns:p14="http://schemas.microsoft.com/office/powerpoint/2010/main" val="7268412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VINS-Mono: Core VIO Algorithm</a:t>
            </a:r>
            <a:endParaRPr lang="en-US" b="1"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523500-1F01-4D4A-A09A-E68046B049CB}"/>
              </a:ext>
            </a:extLst>
          </p:cNvPr>
          <p:cNvSpPr txBox="1"/>
          <p:nvPr/>
        </p:nvSpPr>
        <p:spPr>
          <a:xfrm>
            <a:off x="495297" y="882796"/>
            <a:ext cx="85335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/>
              <a:t>Using previous state and new visual and IMU data to update the state estimat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B9E25321-5687-4593-9DCA-D88E41DCBB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092" y="4926352"/>
            <a:ext cx="5829300" cy="1590675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A27E78A0-C937-4318-8AD2-D9BA82F75F84}"/>
              </a:ext>
            </a:extLst>
          </p:cNvPr>
          <p:cNvSpPr txBox="1"/>
          <p:nvPr/>
        </p:nvSpPr>
        <p:spPr>
          <a:xfrm>
            <a:off x="345680" y="4557020"/>
            <a:ext cx="63245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tate vector in sliding window can be represented as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408BC1DC-F951-4011-A739-462D0AC1A938}"/>
                  </a:ext>
                </a:extLst>
              </p:cNvPr>
              <p:cNvSpPr txBox="1"/>
              <p:nvPr/>
            </p:nvSpPr>
            <p:spPr>
              <a:xfrm>
                <a:off x="6767117" y="4726706"/>
                <a:ext cx="4122737" cy="17746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l-GR" b="1" dirty="0">
                            <a:solidFill>
                              <a:schemeClr val="tx1"/>
                            </a:solidFill>
                          </a:rPr>
                          <m:t>λ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𝒍</m:t>
                        </m:r>
                      </m:sub>
                    </m:sSub>
                    <m:r>
                      <a:rPr lang="en-US" b="1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b="1">
                    <a:solidFill>
                      <a:schemeClr val="tx1"/>
                    </a:solidFill>
                  </a:rPr>
                  <a:t>: </a:t>
                </a:r>
                <a:r>
                  <a:rPr lang="en-US">
                    <a:solidFill>
                      <a:schemeClr val="tx1"/>
                    </a:solidFill>
                  </a:rPr>
                  <a:t>inverse distance to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𝑙</m:t>
                        </m:r>
                      </m:e>
                      <m:sup>
                        <m: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h</m:t>
                        </m:r>
                      </m:sup>
                    </m:sSup>
                  </m:oMath>
                </a14:m>
                <a:r>
                  <a:rPr lang="en-US">
                    <a:solidFill>
                      <a:schemeClr val="tx1"/>
                    </a:solidFill>
                  </a:rPr>
                  <a:t> feature</a:t>
                </a:r>
                <a:r>
                  <a:rPr lang="en-US" b="1">
                    <a:solidFill>
                      <a:schemeClr val="tx1"/>
                    </a:solidFill>
                  </a:rPr>
                  <a:t> </a:t>
                </a:r>
                <a:br>
                  <a:rPr lang="en-US" b="1">
                    <a:solidFill>
                      <a:schemeClr val="tx1"/>
                    </a:solidFill>
                  </a:rPr>
                </a:br>
                <a:endParaRPr lang="en-US" b="1">
                  <a:solidFill>
                    <a:schemeClr val="tx1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𝒌</m:t>
                        </m:r>
                      </m:sub>
                    </m:sSub>
                  </m:oMath>
                </a14:m>
                <a:r>
                  <a:rPr lang="en-US" b="1">
                    <a:solidFill>
                      <a:schemeClr val="tx1"/>
                    </a:solidFill>
                  </a:rPr>
                  <a:t>: </a:t>
                </a:r>
                <a:r>
                  <a:rPr lang="en-US">
                    <a:solidFill>
                      <a:schemeClr val="tx1"/>
                    </a:solidFill>
                  </a:rPr>
                  <a:t>IMU reading at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p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h</m:t>
                        </m:r>
                      </m:sup>
                    </m:sSup>
                  </m:oMath>
                </a14:m>
                <a:r>
                  <a:rPr lang="en-US">
                    <a:solidFill>
                      <a:schemeClr val="tx1"/>
                    </a:solidFill>
                  </a:rPr>
                  <a:t> frame in window</a:t>
                </a:r>
                <a:br>
                  <a:rPr lang="en-US">
                    <a:solidFill>
                      <a:schemeClr val="tx1"/>
                    </a:solidFill>
                  </a:rPr>
                </a:br>
                <a:endParaRPr lang="en-US">
                  <a:solidFill>
                    <a:schemeClr val="tx1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  <m:sup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𝒃</m:t>
                        </m:r>
                      </m:sup>
                    </m:sSubSup>
                  </m:oMath>
                </a14:m>
                <a:r>
                  <a:rPr lang="en-US" b="1">
                    <a:solidFill>
                      <a:schemeClr val="tx1"/>
                    </a:solidFill>
                  </a:rPr>
                  <a:t>: </a:t>
                </a:r>
                <a:r>
                  <a:rPr lang="en-US">
                    <a:solidFill>
                      <a:schemeClr val="tx1"/>
                    </a:solidFill>
                  </a:rPr>
                  <a:t>camera to body vector</a:t>
                </a:r>
                <a:endParaRPr lang="en-US" b="1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408BC1DC-F951-4011-A739-462D0AC1A93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67117" y="4726706"/>
                <a:ext cx="4122737" cy="1774653"/>
              </a:xfrm>
              <a:prstGeom prst="rect">
                <a:avLst/>
              </a:prstGeom>
              <a:blipFill>
                <a:blip r:embed="rId8"/>
                <a:stretch>
                  <a:fillRect l="-888" t="-1375" b="-48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2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A685C359-F24A-473E-8139-037CA0C04D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4255" y="1631032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A774FD9A-8783-4E54-86FC-C2DFE60A6D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7117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325D99D4-86FC-49D3-BE49-459B9960C2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367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A93D8AEE-ED0C-4B1B-AC0C-5E0B36C86E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1717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AE6C43DA-D502-409B-B5D2-730357722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8542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F937B307-83A9-4D07-BB64-599E8E128CB4}"/>
              </a:ext>
            </a:extLst>
          </p:cNvPr>
          <p:cNvSpPr/>
          <p:nvPr/>
        </p:nvSpPr>
        <p:spPr>
          <a:xfrm>
            <a:off x="6670279" y="1459289"/>
            <a:ext cx="5133974" cy="2049244"/>
          </a:xfrm>
          <a:prstGeom prst="rect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772290D-AA31-44C0-9E24-51EFA794A4A4}"/>
              </a:ext>
            </a:extLst>
          </p:cNvPr>
          <p:cNvSpPr txBox="1"/>
          <p:nvPr/>
        </p:nvSpPr>
        <p:spPr>
          <a:xfrm>
            <a:off x="3444479" y="3443900"/>
            <a:ext cx="7897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Priori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0211B1E-5307-40C4-ACD2-872DF0A4AAFD}"/>
              </a:ext>
            </a:extLst>
          </p:cNvPr>
          <p:cNvSpPr txBox="1"/>
          <p:nvPr/>
        </p:nvSpPr>
        <p:spPr>
          <a:xfrm>
            <a:off x="6545898" y="1129938"/>
            <a:ext cx="5471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This module works only on Sliding Window part</a:t>
            </a:r>
          </a:p>
        </p:txBody>
      </p:sp>
      <p:pic>
        <p:nvPicPr>
          <p:cNvPr id="30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13C880FD-CEEC-4E61-966B-CF217EC82D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430" y="1650082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77A2AA4D-9494-4F67-B4EB-581C66FB0A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5205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55C261C1-C039-4D1F-ADCF-FA22AD8045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8380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Nature Scenery Portrait View Stock Photo, Picture And Royalty Free ...">
            <a:extLst>
              <a:ext uri="{FF2B5EF4-FFF2-40B4-BE49-F238E27FC236}">
                <a16:creationId xmlns:a16="http://schemas.microsoft.com/office/drawing/2014/main" id="{86B225A0-4ACC-4248-A8A3-15031BD739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0130" y="1630739"/>
            <a:ext cx="1141412" cy="171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68FA0E60-DDFA-4662-9092-861E19630A2B}"/>
              </a:ext>
            </a:extLst>
          </p:cNvPr>
          <p:cNvSpPr txBox="1"/>
          <p:nvPr/>
        </p:nvSpPr>
        <p:spPr>
          <a:xfrm>
            <a:off x="8576072" y="3508533"/>
            <a:ext cx="19724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liding Window</a:t>
            </a:r>
          </a:p>
        </p:txBody>
      </p:sp>
    </p:spTree>
    <p:extLst>
      <p:ext uri="{BB962C8B-B14F-4D97-AF65-F5344CB8AC3E}">
        <p14:creationId xmlns:p14="http://schemas.microsoft.com/office/powerpoint/2010/main" val="3710761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VINS-Mono: Core VIO Algorithm</a:t>
            </a:r>
            <a:endParaRPr lang="en-US" b="1"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523500-1F01-4D4A-A09A-E68046B049CB}"/>
              </a:ext>
            </a:extLst>
          </p:cNvPr>
          <p:cNvSpPr txBox="1"/>
          <p:nvPr/>
        </p:nvSpPr>
        <p:spPr>
          <a:xfrm>
            <a:off x="495297" y="882796"/>
            <a:ext cx="85335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/>
              <a:t>Using previous state and new visual and IMU data to update the state estimat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B9E25321-5687-4593-9DCA-D88E41DCBB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092" y="4926352"/>
            <a:ext cx="5829300" cy="1590675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A27E78A0-C937-4318-8AD2-D9BA82F75F84}"/>
              </a:ext>
            </a:extLst>
          </p:cNvPr>
          <p:cNvSpPr txBox="1"/>
          <p:nvPr/>
        </p:nvSpPr>
        <p:spPr>
          <a:xfrm>
            <a:off x="345680" y="4557020"/>
            <a:ext cx="63245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tate vector in sliding window can be represented as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408BC1DC-F951-4011-A739-462D0AC1A938}"/>
                  </a:ext>
                </a:extLst>
              </p:cNvPr>
              <p:cNvSpPr txBox="1"/>
              <p:nvPr/>
            </p:nvSpPr>
            <p:spPr>
              <a:xfrm>
                <a:off x="6640398" y="4716911"/>
                <a:ext cx="4324936" cy="17746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l-GR" b="1" dirty="0">
                            <a:solidFill>
                              <a:schemeClr val="tx1"/>
                            </a:solidFill>
                          </a:rPr>
                          <m:t>λ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𝒍</m:t>
                        </m:r>
                      </m:sub>
                    </m:sSub>
                    <m:r>
                      <a:rPr lang="en-US" b="1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b="1">
                    <a:solidFill>
                      <a:schemeClr val="tx1"/>
                    </a:solidFill>
                  </a:rPr>
                  <a:t>: </a:t>
                </a:r>
                <a:r>
                  <a:rPr lang="en-US">
                    <a:solidFill>
                      <a:schemeClr val="tx1"/>
                    </a:solidFill>
                  </a:rPr>
                  <a:t>inverse distance to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𝑙</m:t>
                        </m:r>
                      </m:e>
                      <m:sup>
                        <m: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h</m:t>
                        </m:r>
                      </m:sup>
                    </m:sSup>
                  </m:oMath>
                </a14:m>
                <a:r>
                  <a:rPr lang="en-US">
                    <a:solidFill>
                      <a:schemeClr val="tx1"/>
                    </a:solidFill>
                  </a:rPr>
                  <a:t> feature</a:t>
                </a:r>
                <a:r>
                  <a:rPr lang="en-US" b="1">
                    <a:solidFill>
                      <a:schemeClr val="tx1"/>
                    </a:solidFill>
                  </a:rPr>
                  <a:t> </a:t>
                </a:r>
                <a:br>
                  <a:rPr lang="en-US" b="1">
                    <a:solidFill>
                      <a:schemeClr val="tx1"/>
                    </a:solidFill>
                  </a:rPr>
                </a:br>
                <a:endParaRPr lang="en-US" b="1">
                  <a:solidFill>
                    <a:schemeClr val="tx1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𝒌</m:t>
                        </m:r>
                      </m:sub>
                    </m:sSub>
                  </m:oMath>
                </a14:m>
                <a:r>
                  <a:rPr lang="en-US" b="1">
                    <a:solidFill>
                      <a:schemeClr val="tx1"/>
                    </a:solidFill>
                  </a:rPr>
                  <a:t>: </a:t>
                </a:r>
                <a:r>
                  <a:rPr lang="en-US">
                    <a:solidFill>
                      <a:schemeClr val="tx1"/>
                    </a:solidFill>
                  </a:rPr>
                  <a:t>IMU reading at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p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h</m:t>
                        </m:r>
                      </m:sup>
                    </m:sSup>
                  </m:oMath>
                </a14:m>
                <a:r>
                  <a:rPr lang="en-US">
                    <a:solidFill>
                      <a:schemeClr val="tx1"/>
                    </a:solidFill>
                  </a:rPr>
                  <a:t> frame in window</a:t>
                </a:r>
                <a:br>
                  <a:rPr lang="en-US">
                    <a:solidFill>
                      <a:schemeClr val="tx1"/>
                    </a:solidFill>
                  </a:rPr>
                </a:br>
                <a:endParaRPr lang="en-US">
                  <a:solidFill>
                    <a:schemeClr val="tx1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  <m:sup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𝒃</m:t>
                        </m:r>
                      </m:sup>
                    </m:sSubSup>
                  </m:oMath>
                </a14:m>
                <a:r>
                  <a:rPr lang="en-US" b="1">
                    <a:solidFill>
                      <a:schemeClr val="tx1"/>
                    </a:solidFill>
                  </a:rPr>
                  <a:t>: </a:t>
                </a:r>
                <a:r>
                  <a:rPr lang="en-US">
                    <a:solidFill>
                      <a:schemeClr val="tx1"/>
                    </a:solidFill>
                  </a:rPr>
                  <a:t>camera to body vector</a:t>
                </a:r>
                <a:endParaRPr lang="en-US" b="1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408BC1DC-F951-4011-A739-462D0AC1A93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40398" y="4716911"/>
                <a:ext cx="4324936" cy="1774653"/>
              </a:xfrm>
              <a:prstGeom prst="rect">
                <a:avLst/>
              </a:prstGeom>
              <a:blipFill>
                <a:blip r:embed="rId8"/>
                <a:stretch>
                  <a:fillRect l="-845" t="-1718" b="-48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2" name="Picture 21">
            <a:extLst>
              <a:ext uri="{FF2B5EF4-FFF2-40B4-BE49-F238E27FC236}">
                <a16:creationId xmlns:a16="http://schemas.microsoft.com/office/drawing/2014/main" id="{0AD6F794-B17A-4C8C-B86D-898F194197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1673" y="1779407"/>
            <a:ext cx="5332411" cy="1840951"/>
          </a:xfrm>
          <a:prstGeom prst="rect">
            <a:avLst/>
          </a:prstGeom>
          <a:ln>
            <a:noFill/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B809F3E-7A4F-4D25-9021-623DA824C0B0}"/>
              </a:ext>
            </a:extLst>
          </p:cNvPr>
          <p:cNvSpPr txBox="1"/>
          <p:nvPr/>
        </p:nvSpPr>
        <p:spPr>
          <a:xfrm>
            <a:off x="323736" y="1350891"/>
            <a:ext cx="631666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/>
              <a:t>Optimization function to be satisfied at each timestep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D2987C-151A-4922-8419-471B95F47688}"/>
              </a:ext>
            </a:extLst>
          </p:cNvPr>
          <p:cNvSpPr txBox="1"/>
          <p:nvPr/>
        </p:nvSpPr>
        <p:spPr>
          <a:xfrm>
            <a:off x="7742961" y="3537411"/>
            <a:ext cx="3362325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/>
              <a:t>Error due to prior inform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A7BBD4C-C458-42BE-B42D-3F52A8DEE481}"/>
              </a:ext>
            </a:extLst>
          </p:cNvPr>
          <p:cNvSpPr txBox="1"/>
          <p:nvPr/>
        </p:nvSpPr>
        <p:spPr>
          <a:xfrm>
            <a:off x="7862807" y="1556510"/>
            <a:ext cx="2162175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/>
              <a:t>IMU residual erro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F278A63-B5B2-440A-80C3-9F7D589C7015}"/>
              </a:ext>
            </a:extLst>
          </p:cNvPr>
          <p:cNvSpPr txBox="1"/>
          <p:nvPr/>
        </p:nvSpPr>
        <p:spPr>
          <a:xfrm>
            <a:off x="7742961" y="2296658"/>
            <a:ext cx="2571750" cy="64633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/>
              <a:t>Visual measurement residual error</a:t>
            </a: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9B16A362-05BA-4B01-8BDB-00BAE0252A96}"/>
              </a:ext>
            </a:extLst>
          </p:cNvPr>
          <p:cNvCxnSpPr>
            <a:cxnSpLocks/>
            <a:endCxn id="26" idx="1"/>
          </p:cNvCxnSpPr>
          <p:nvPr/>
        </p:nvCxnSpPr>
        <p:spPr>
          <a:xfrm flipV="1">
            <a:off x="5210175" y="1741176"/>
            <a:ext cx="2652632" cy="43822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AA5275B2-F8BF-4EF3-BF94-9F616B283BCC}"/>
              </a:ext>
            </a:extLst>
          </p:cNvPr>
          <p:cNvCxnSpPr>
            <a:cxnSpLocks/>
          </p:cNvCxnSpPr>
          <p:nvPr/>
        </p:nvCxnSpPr>
        <p:spPr>
          <a:xfrm flipV="1">
            <a:off x="5700632" y="2619825"/>
            <a:ext cx="2042329" cy="57865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011249D-FC66-4577-94D5-EEFFEC1988B0}"/>
              </a:ext>
            </a:extLst>
          </p:cNvPr>
          <p:cNvCxnSpPr>
            <a:cxnSpLocks/>
            <a:endCxn id="24" idx="1"/>
          </p:cNvCxnSpPr>
          <p:nvPr/>
        </p:nvCxnSpPr>
        <p:spPr>
          <a:xfrm>
            <a:off x="1695450" y="3707736"/>
            <a:ext cx="6047511" cy="14341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791184-29BA-46C7-8733-F6AB1C867A05}"/>
              </a:ext>
            </a:extLst>
          </p:cNvPr>
          <p:cNvCxnSpPr/>
          <p:nvPr/>
        </p:nvCxnSpPr>
        <p:spPr>
          <a:xfrm flipV="1">
            <a:off x="1695450" y="2341432"/>
            <a:ext cx="0" cy="1366304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739388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VINS-Mono: Core VIO Algorithm</a:t>
            </a:r>
            <a:endParaRPr lang="en-US" b="1"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523500-1F01-4D4A-A09A-E68046B049CB}"/>
              </a:ext>
            </a:extLst>
          </p:cNvPr>
          <p:cNvSpPr txBox="1"/>
          <p:nvPr/>
        </p:nvSpPr>
        <p:spPr>
          <a:xfrm>
            <a:off x="495297" y="882796"/>
            <a:ext cx="85335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/>
              <a:t>Using previous state and new visual and IMU data to update the state estimat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BE3CBBF-2213-4A26-BD25-4A628A21D330}"/>
              </a:ext>
            </a:extLst>
          </p:cNvPr>
          <p:cNvSpPr txBox="1"/>
          <p:nvPr/>
        </p:nvSpPr>
        <p:spPr>
          <a:xfrm>
            <a:off x="675478" y="1192155"/>
            <a:ext cx="2314575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/>
              <a:t>IMU residual error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5BEE918-A3FF-4386-B006-807A7FE30F6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1001" y="1561487"/>
            <a:ext cx="2521296" cy="1647825"/>
          </a:xfrm>
          <a:prstGeom prst="rect">
            <a:avLst/>
          </a:prstGeom>
          <a:ln>
            <a:noFill/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F09AEEE-0105-45E4-BFFA-336713ADBACF}"/>
              </a:ext>
            </a:extLst>
          </p:cNvPr>
          <p:cNvSpPr txBox="1"/>
          <p:nvPr/>
        </p:nvSpPr>
        <p:spPr>
          <a:xfrm>
            <a:off x="336078" y="3248394"/>
            <a:ext cx="35302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/>
              <a:t>Change in IMU states and bias estimates from previous frame to this frame by pre-integration st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6B1B878-0C97-418B-87C7-E0401B736C26}"/>
              </a:ext>
            </a:extLst>
          </p:cNvPr>
          <p:cNvSpPr txBox="1"/>
          <p:nvPr/>
        </p:nvSpPr>
        <p:spPr>
          <a:xfrm>
            <a:off x="4396281" y="1914314"/>
            <a:ext cx="2188351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/>
              <a:t>Visual Measurement residual erro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F0278E19-2A2A-481D-B53A-C744897139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87682" y="1340996"/>
            <a:ext cx="4968240" cy="2329372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CABC93B8-A171-45E1-A6B8-F9F7112B8C6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63908" y="3851569"/>
            <a:ext cx="3629025" cy="2400300"/>
          </a:xfrm>
          <a:prstGeom prst="rect">
            <a:avLst/>
          </a:prstGeom>
          <a:ln>
            <a:noFill/>
          </a:ln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9035A7F7-611C-49C2-B72F-A8322EE3B579}"/>
              </a:ext>
            </a:extLst>
          </p:cNvPr>
          <p:cNvSpPr/>
          <p:nvPr/>
        </p:nvSpPr>
        <p:spPr>
          <a:xfrm>
            <a:off x="495297" y="1561486"/>
            <a:ext cx="3262414" cy="288723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F7BECF9-1819-4536-9596-8D73CFDF5642}"/>
              </a:ext>
            </a:extLst>
          </p:cNvPr>
          <p:cNvSpPr txBox="1"/>
          <p:nvPr/>
        </p:nvSpPr>
        <p:spPr>
          <a:xfrm>
            <a:off x="495297" y="4524552"/>
            <a:ext cx="2828925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b="1"/>
              <a:t>What does it all mean?</a:t>
            </a:r>
          </a:p>
        </p:txBody>
      </p: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0B8C1447-7EAE-4CC1-BA02-8014A1F7998D}"/>
              </a:ext>
            </a:extLst>
          </p:cNvPr>
          <p:cNvCxnSpPr>
            <a:stCxn id="30" idx="1"/>
            <a:endCxn id="33" idx="1"/>
          </p:cNvCxnSpPr>
          <p:nvPr/>
        </p:nvCxnSpPr>
        <p:spPr>
          <a:xfrm rot="10800000" flipV="1">
            <a:off x="495298" y="2505682"/>
            <a:ext cx="6392385" cy="2203536"/>
          </a:xfrm>
          <a:prstGeom prst="bentConnector3">
            <a:avLst>
              <a:gd name="adj1" fmla="val 103576"/>
            </a:avLst>
          </a:prstGeom>
          <a:ln>
            <a:noFil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104D8E4E-27C1-4381-A342-22E7C91F1A95}"/>
              </a:ext>
            </a:extLst>
          </p:cNvPr>
          <p:cNvSpPr txBox="1"/>
          <p:nvPr/>
        </p:nvSpPr>
        <p:spPr>
          <a:xfrm>
            <a:off x="453676" y="4880807"/>
            <a:ext cx="5036531" cy="175432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/>
              <a:t>It is just the scaled camera reprojection error of a feature </a:t>
            </a:r>
          </a:p>
          <a:p>
            <a:endParaRPr lang="en-US"/>
          </a:p>
          <a:p>
            <a:r>
              <a:rPr lang="en-US" b="1"/>
              <a:t>Error = Scale*(expected reprojection – true)</a:t>
            </a:r>
          </a:p>
          <a:p>
            <a:endParaRPr lang="en-US" b="1"/>
          </a:p>
          <a:p>
            <a:r>
              <a:rPr lang="en-US" b="1"/>
              <a:t>P : </a:t>
            </a:r>
            <a:r>
              <a:rPr lang="en-US"/>
              <a:t>unit vector along reprojection</a:t>
            </a:r>
            <a:endParaRPr lang="en-US" b="1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7D00D4B-C7B3-494A-831D-F7AAD717C59A}"/>
              </a:ext>
            </a:extLst>
          </p:cNvPr>
          <p:cNvSpPr txBox="1"/>
          <p:nvPr/>
        </p:nvSpPr>
        <p:spPr>
          <a:xfrm>
            <a:off x="8949874" y="2164908"/>
            <a:ext cx="1038858" cy="3077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Observe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7EA776B-84DF-482F-8A4D-4E7B23345EDC}"/>
              </a:ext>
            </a:extLst>
          </p:cNvPr>
          <p:cNvSpPr txBox="1"/>
          <p:nvPr/>
        </p:nvSpPr>
        <p:spPr>
          <a:xfrm>
            <a:off x="6996322" y="3208509"/>
            <a:ext cx="935173" cy="3077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Expect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8A0CDE-9725-4862-9E33-139C16E8566B}"/>
              </a:ext>
            </a:extLst>
          </p:cNvPr>
          <p:cNvSpPr/>
          <p:nvPr/>
        </p:nvSpPr>
        <p:spPr>
          <a:xfrm>
            <a:off x="336078" y="1208220"/>
            <a:ext cx="3629025" cy="3029405"/>
          </a:xfrm>
          <a:prstGeom prst="rect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439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3C7BC9B-B865-4D8B-9A08-2EBFB13FF1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4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3C7BC9B-B865-4D8B-9A08-2EBFB13FF1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1FED21C-20FB-4901-8A0B-86EB975052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Overview of slam and vi-sl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6444" y="4893129"/>
            <a:ext cx="3574143" cy="18288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b="0">
                <a:ea typeface="+mn-lt"/>
                <a:cs typeface="+mn-lt"/>
              </a:rPr>
              <a:t>what is the robot's current</a:t>
            </a:r>
            <a:endParaRPr lang="en-US" err="1">
              <a:ea typeface="+mn-lt"/>
              <a:cs typeface="+mn-lt"/>
            </a:endParaRPr>
          </a:p>
          <a:p>
            <a:pPr lvl="2" indent="-245745"/>
            <a:r>
              <a:rPr lang="en-US" b="0">
                <a:ea typeface="+mn-lt"/>
                <a:cs typeface="+mn-lt"/>
              </a:rPr>
              <a:t> </a:t>
            </a:r>
            <a:r>
              <a:rPr lang="en-US">
                <a:ea typeface="+mn-lt"/>
                <a:cs typeface="+mn-lt"/>
              </a:rPr>
              <a:t>Location</a:t>
            </a:r>
            <a:r>
              <a:rPr lang="en-US" b="0">
                <a:ea typeface="+mn-lt"/>
                <a:cs typeface="+mn-lt"/>
              </a:rPr>
              <a:t>  </a:t>
            </a:r>
          </a:p>
          <a:p>
            <a:pPr lvl="2" indent="-245745"/>
            <a:r>
              <a:rPr lang="en-US">
                <a:ea typeface="+mn-lt"/>
                <a:cs typeface="+mn-lt"/>
              </a:rPr>
              <a:t>Orientation</a:t>
            </a:r>
            <a:endParaRPr lang="en-US" b="0">
              <a:cs typeface="Arial"/>
            </a:endParaRP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F1D7B631-5ACB-416F-8D30-F94466CC0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5119A67-3C13-4465-B23F-367350CEC27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4893129"/>
            <a:ext cx="3429000" cy="18288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b="0">
                <a:ea typeface="+mn-lt"/>
                <a:cs typeface="+mn-lt"/>
              </a:rPr>
              <a:t>Construct plan to localize the robot</a:t>
            </a:r>
            <a:endParaRPr lang="en-US"/>
          </a:p>
          <a:p>
            <a:pPr marL="342900" indent="-342900">
              <a:buChar char="•"/>
            </a:pPr>
            <a:r>
              <a:rPr lang="en-US" sz="2000" b="0">
                <a:ea typeface="+mn-lt"/>
                <a:cs typeface="+mn-lt"/>
              </a:rPr>
              <a:t>real-time motion planning </a:t>
            </a:r>
          </a:p>
          <a:p>
            <a:pPr marL="342900" indent="-342900">
              <a:buChar char="•"/>
            </a:pPr>
            <a:endParaRPr lang="en-US" sz="2000" b="0">
              <a:cs typeface="Arial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F83C94E-5865-4A39-B49C-66C22701D95C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2000" b="0">
                <a:ea typeface="+mn-lt"/>
                <a:cs typeface="+mn-lt"/>
              </a:rPr>
              <a:t>Building a real-time map using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Char char="•"/>
            </a:pPr>
            <a:r>
              <a:rPr lang="en-US" sz="2000" b="0">
                <a:cs typeface="Arial"/>
              </a:rPr>
              <a:t>Visual data( Camera-mono, stereo)</a:t>
            </a:r>
          </a:p>
          <a:p>
            <a:pPr marL="342900" indent="-342900">
              <a:buChar char="•"/>
            </a:pPr>
            <a:r>
              <a:rPr lang="en-US" sz="2000" b="0">
                <a:cs typeface="Arial"/>
              </a:rPr>
              <a:t>Inertial data( IMU)</a:t>
            </a:r>
          </a:p>
          <a:p>
            <a:pPr marL="342900" indent="-342900">
              <a:buChar char="•"/>
            </a:pPr>
            <a:endParaRPr lang="en-US" sz="2000" b="0">
              <a:cs typeface="Arial"/>
            </a:endParaRPr>
          </a:p>
          <a:p>
            <a:pPr marL="342900" indent="-342900">
              <a:buChar char="•"/>
            </a:pPr>
            <a:endParaRPr lang="en-US" sz="2000">
              <a:cs typeface="Arial"/>
            </a:endParaRPr>
          </a:p>
        </p:txBody>
      </p:sp>
      <p:pic>
        <p:nvPicPr>
          <p:cNvPr id="12" name="Picture 12" descr="A picture containing text, map&#10;&#10;Description automatically generated">
            <a:extLst>
              <a:ext uri="{FF2B5EF4-FFF2-40B4-BE49-F238E27FC236}">
                <a16:creationId xmlns:a16="http://schemas.microsoft.com/office/drawing/2014/main" id="{3A2AEC90-14AE-4CC0-9B81-01AD2B24103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t="699" b="699"/>
          <a:stretch/>
        </p:blipFill>
        <p:spPr>
          <a:xfrm>
            <a:off x="492054" y="1718129"/>
            <a:ext cx="3381063" cy="2247900"/>
          </a:xfrm>
        </p:spPr>
      </p:pic>
      <p:pic>
        <p:nvPicPr>
          <p:cNvPr id="15" name="Picture 16" descr="A screen shot of a computer&#10;&#10;Description automatically generated">
            <a:extLst>
              <a:ext uri="{FF2B5EF4-FFF2-40B4-BE49-F238E27FC236}">
                <a16:creationId xmlns:a16="http://schemas.microsoft.com/office/drawing/2014/main" id="{AD96674E-6F4C-4063-98E2-A9656ABC68F8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8"/>
          <a:srcRect l="11594" r="11594"/>
          <a:stretch/>
        </p:blipFill>
        <p:spPr>
          <a:xfrm>
            <a:off x="4327105" y="1833607"/>
            <a:ext cx="3429000" cy="2134872"/>
          </a:xfrm>
        </p:spPr>
      </p:pic>
      <p:pic>
        <p:nvPicPr>
          <p:cNvPr id="19" name="Picture 2" descr="Monocular - Wikipedia">
            <a:extLst>
              <a:ext uri="{FF2B5EF4-FFF2-40B4-BE49-F238E27FC236}">
                <a16:creationId xmlns:a16="http://schemas.microsoft.com/office/drawing/2014/main" id="{FAC456EF-D6F5-4262-889A-BA78B4B872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8260" y="1902969"/>
            <a:ext cx="1495742" cy="996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HOW DO DRONES WORK? PART 9 - IMU (Inertial Measurement Unit)">
            <a:extLst>
              <a:ext uri="{FF2B5EF4-FFF2-40B4-BE49-F238E27FC236}">
                <a16:creationId xmlns:a16="http://schemas.microsoft.com/office/drawing/2014/main" id="{735DE27D-E081-419E-993F-0B791B7788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9226" y="1842107"/>
            <a:ext cx="1075893" cy="1063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15EF42E-443A-440D-B244-3CB07AF88A95}"/>
              </a:ext>
            </a:extLst>
          </p:cNvPr>
          <p:cNvSpPr txBox="1"/>
          <p:nvPr/>
        </p:nvSpPr>
        <p:spPr>
          <a:xfrm>
            <a:off x="8461829" y="3064328"/>
            <a:ext cx="2743199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/>
              <a:t>Camera                    IMU</a:t>
            </a:r>
            <a:endParaRPr lang="en-US" b="1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68943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VINS-Mono: </a:t>
            </a:r>
            <a:r>
              <a:rPr lang="en-US" err="1">
                <a:solidFill>
                  <a:schemeClr val="accent1"/>
                </a:solidFill>
              </a:rPr>
              <a:t>Relocalization</a:t>
            </a:r>
            <a:r>
              <a:rPr lang="en-US">
                <a:solidFill>
                  <a:schemeClr val="accent1"/>
                </a:solidFill>
              </a:rPr>
              <a:t> v/s Pose Graph</a:t>
            </a:r>
            <a:endParaRPr lang="en-US" b="1"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523500-1F01-4D4A-A09A-E68046B049CB}"/>
              </a:ext>
            </a:extLst>
          </p:cNvPr>
          <p:cNvSpPr txBox="1"/>
          <p:nvPr/>
        </p:nvSpPr>
        <p:spPr>
          <a:xfrm>
            <a:off x="495297" y="882796"/>
            <a:ext cx="85335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/>
              <a:t>Occurs at loop closur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F7CB089-C53B-41A1-AF74-77AF4A8E1D7B}"/>
              </a:ext>
            </a:extLst>
          </p:cNvPr>
          <p:cNvSpPr txBox="1"/>
          <p:nvPr/>
        </p:nvSpPr>
        <p:spPr>
          <a:xfrm>
            <a:off x="390036" y="1211154"/>
            <a:ext cx="115268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Every effort is made to minimize error but still some drift occurs. When we visit a location again, our past knowledge and current position can help us correct for those drifts. Correcting those drifts in sliding window is </a:t>
            </a:r>
            <a:r>
              <a:rPr lang="en-US" b="1" err="1"/>
              <a:t>Relocalization</a:t>
            </a:r>
            <a:r>
              <a:rPr lang="en-US" b="1"/>
              <a:t> </a:t>
            </a:r>
            <a:r>
              <a:rPr lang="en-US"/>
              <a:t>and thereby adjusting previous data according to it is </a:t>
            </a:r>
            <a:r>
              <a:rPr lang="en-US" b="1"/>
              <a:t>Global pose graph optimization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EC00B69-14F9-446F-88CF-E86D743C9158}"/>
              </a:ext>
            </a:extLst>
          </p:cNvPr>
          <p:cNvSpPr/>
          <p:nvPr/>
        </p:nvSpPr>
        <p:spPr>
          <a:xfrm>
            <a:off x="318841" y="1180376"/>
            <a:ext cx="11554314" cy="916174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799F1D45-D30A-4B39-AEBB-6B1D94783D4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44028"/>
          <a:stretch/>
        </p:blipFill>
        <p:spPr>
          <a:xfrm>
            <a:off x="586942" y="2333625"/>
            <a:ext cx="5823384" cy="4276725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011B32AE-EC54-4655-96C3-5D321315275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7361"/>
          <a:stretch/>
        </p:blipFill>
        <p:spPr>
          <a:xfrm>
            <a:off x="6324602" y="2828040"/>
            <a:ext cx="5781674" cy="3363210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42665563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VINS-Mono: </a:t>
            </a:r>
            <a:r>
              <a:rPr lang="en-US" err="1">
                <a:solidFill>
                  <a:schemeClr val="accent1"/>
                </a:solidFill>
              </a:rPr>
              <a:t>Relocalization</a:t>
            </a:r>
            <a:endParaRPr lang="en-US" b="1"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6B74E2-6EFB-4B3B-A38F-5E212B1A8A0A}"/>
              </a:ext>
            </a:extLst>
          </p:cNvPr>
          <p:cNvSpPr txBox="1"/>
          <p:nvPr/>
        </p:nvSpPr>
        <p:spPr>
          <a:xfrm>
            <a:off x="370611" y="865264"/>
            <a:ext cx="118213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err="1"/>
              <a:t>Relocalization</a:t>
            </a:r>
            <a:r>
              <a:rPr lang="en-US" b="1"/>
              <a:t> has 2 steps:</a:t>
            </a:r>
          </a:p>
          <a:p>
            <a:endParaRPr lang="en-US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Loop detection: </a:t>
            </a:r>
            <a:r>
              <a:rPr lang="en-US"/>
              <a:t>DBoW2 (Database Bag of Words representation of image features indexed for fast retrieval)</a:t>
            </a:r>
            <a:br>
              <a:rPr lang="en-US" b="1"/>
            </a:br>
            <a:endParaRPr lang="en-US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Optimiz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278A206-E686-4723-97EB-C560ED1C8E3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4891" y="2404759"/>
            <a:ext cx="5324909" cy="257977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ABAEE77-793B-474B-9A81-1062C3D9C1C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44028"/>
          <a:stretch/>
        </p:blipFill>
        <p:spPr>
          <a:xfrm>
            <a:off x="7162076" y="2129527"/>
            <a:ext cx="4659313" cy="3375978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32F92C6-4C6F-4AA6-8C7C-8E5B11FE2E79}"/>
                  </a:ext>
                </a:extLst>
              </p:cNvPr>
              <p:cNvSpPr txBox="1"/>
              <p:nvPr/>
            </p:nvSpPr>
            <p:spPr>
              <a:xfrm>
                <a:off x="2913787" y="5378975"/>
                <a:ext cx="4448175" cy="3429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US" sz="16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𝑙</m:t>
                        </m:r>
                      </m:e>
                      <m:sup>
                        <m:r>
                          <a:rPr lang="en-US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h</m:t>
                        </m:r>
                      </m:sup>
                    </m:sSup>
                  </m:oMath>
                </a14:m>
                <a:r>
                  <a:rPr lang="en-US" sz="1600">
                    <a:solidFill>
                      <a:schemeClr val="tx1"/>
                    </a:solidFill>
                  </a:rPr>
                  <a:t> feature observed previously in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𝑣</m:t>
                        </m:r>
                      </m:e>
                      <m:sup>
                        <m:r>
                          <a:rPr 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h</m:t>
                        </m:r>
                      </m:sup>
                    </m:sSup>
                  </m:oMath>
                </a14:m>
                <a:r>
                  <a:rPr lang="en-US" sz="1600">
                    <a:solidFill>
                      <a:schemeClr val="tx1"/>
                    </a:solidFill>
                  </a:rPr>
                  <a:t> frame </a:t>
                </a: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32F92C6-4C6F-4AA6-8C7C-8E5B11FE2E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13787" y="5378975"/>
                <a:ext cx="4448175" cy="342979"/>
              </a:xfrm>
              <a:prstGeom prst="rect">
                <a:avLst/>
              </a:prstGeom>
              <a:blipFill>
                <a:blip r:embed="rId9"/>
                <a:stretch>
                  <a:fillRect t="-3509" b="-2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FC1E81C-2885-4C63-9C67-620C3BC19E26}"/>
              </a:ext>
            </a:extLst>
          </p:cNvPr>
          <p:cNvCxnSpPr>
            <a:cxnSpLocks/>
          </p:cNvCxnSpPr>
          <p:nvPr/>
        </p:nvCxnSpPr>
        <p:spPr>
          <a:xfrm flipV="1">
            <a:off x="1477100" y="5164152"/>
            <a:ext cx="0" cy="23503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BCDEE89C-0156-4CE1-9D6C-92A47B731109}"/>
              </a:ext>
            </a:extLst>
          </p:cNvPr>
          <p:cNvSpPr txBox="1"/>
          <p:nvPr/>
        </p:nvSpPr>
        <p:spPr>
          <a:xfrm>
            <a:off x="224701" y="5864751"/>
            <a:ext cx="114507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Hence apart from usual cost function for sliding window, we now have a term which constraints us with loop connections to give us new estimated state and thus minimizing the overall drift.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7C3D362E-EAEC-4A2C-A324-DF5BE69D5275}"/>
              </a:ext>
            </a:extLst>
          </p:cNvPr>
          <p:cNvCxnSpPr>
            <a:cxnSpLocks/>
            <a:endCxn id="13" idx="1"/>
          </p:cNvCxnSpPr>
          <p:nvPr/>
        </p:nvCxnSpPr>
        <p:spPr>
          <a:xfrm rot="16200000" flipH="1">
            <a:off x="2378838" y="5015516"/>
            <a:ext cx="565936" cy="503962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031307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VINS-Mono: Global Pose Graph </a:t>
            </a:r>
            <a:r>
              <a:rPr lang="en-US" err="1">
                <a:solidFill>
                  <a:schemeClr val="accent1"/>
                </a:solidFill>
              </a:rPr>
              <a:t>Optimizatio</a:t>
            </a:r>
            <a:endParaRPr lang="en-US" b="1">
              <a:latin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0DA3902-C2BB-46B2-8C88-2104972B572C}"/>
              </a:ext>
            </a:extLst>
          </p:cNvPr>
          <p:cNvSpPr txBox="1"/>
          <p:nvPr/>
        </p:nvSpPr>
        <p:spPr>
          <a:xfrm>
            <a:off x="441119" y="1544978"/>
            <a:ext cx="54959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As we have already </a:t>
            </a:r>
            <a:r>
              <a:rPr lang="en-US" sz="2000" err="1"/>
              <a:t>relocalized</a:t>
            </a:r>
            <a:r>
              <a:rPr lang="en-US" sz="2000"/>
              <a:t> the sliding window, the pose graph looks like image 5</a:t>
            </a:r>
          </a:p>
          <a:p>
            <a:endParaRPr lang="en-US" sz="2000"/>
          </a:p>
          <a:p>
            <a:r>
              <a:rPr lang="en-US" sz="2000" b="1"/>
              <a:t>4-Dof pose graph optimization: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88BC4A-CB8D-4929-94B2-7EBBD2DDE74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7361"/>
          <a:stretch/>
        </p:blipFill>
        <p:spPr>
          <a:xfrm>
            <a:off x="5416139" y="1193088"/>
            <a:ext cx="6101424" cy="3367768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EDE0F2-C039-4467-B606-3BBB3A7DFA62}"/>
              </a:ext>
            </a:extLst>
          </p:cNvPr>
          <p:cNvSpPr txBox="1"/>
          <p:nvPr/>
        </p:nvSpPr>
        <p:spPr>
          <a:xfrm>
            <a:off x="480207" y="3143675"/>
            <a:ext cx="38766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Done according to sequential and loop closure edges residual error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931EFCD-B521-4F63-A204-2C0343D3F06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32915" y="4252425"/>
            <a:ext cx="5514975" cy="116205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B278727-0952-414B-A886-794EC9422D5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81521" y="5086933"/>
            <a:ext cx="3933825" cy="981075"/>
          </a:xfrm>
          <a:prstGeom prst="rect">
            <a:avLst/>
          </a:prstGeom>
        </p:spPr>
      </p:pic>
      <p:sp>
        <p:nvSpPr>
          <p:cNvPr id="22" name="Flowchart: Off-page Connector 21">
            <a:extLst>
              <a:ext uri="{FF2B5EF4-FFF2-40B4-BE49-F238E27FC236}">
                <a16:creationId xmlns:a16="http://schemas.microsoft.com/office/drawing/2014/main" id="{F10F60CE-B09D-4FCB-827D-221265C4A7BD}"/>
              </a:ext>
            </a:extLst>
          </p:cNvPr>
          <p:cNvSpPr/>
          <p:nvPr/>
        </p:nvSpPr>
        <p:spPr>
          <a:xfrm>
            <a:off x="1439264" y="4487375"/>
            <a:ext cx="266700" cy="444577"/>
          </a:xfrm>
          <a:prstGeom prst="flowChartOffpageConnector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Flowchart: Off-page Connector 22">
            <a:extLst>
              <a:ext uri="{FF2B5EF4-FFF2-40B4-BE49-F238E27FC236}">
                <a16:creationId xmlns:a16="http://schemas.microsoft.com/office/drawing/2014/main" id="{06539A45-1FBC-4152-ACD0-71ADA504CBE7}"/>
              </a:ext>
            </a:extLst>
          </p:cNvPr>
          <p:cNvSpPr/>
          <p:nvPr/>
        </p:nvSpPr>
        <p:spPr>
          <a:xfrm>
            <a:off x="2106014" y="4487375"/>
            <a:ext cx="266700" cy="444577"/>
          </a:xfrm>
          <a:prstGeom prst="flowChartOffpageConnector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Flowchart: Off-page Connector 23">
            <a:extLst>
              <a:ext uri="{FF2B5EF4-FFF2-40B4-BE49-F238E27FC236}">
                <a16:creationId xmlns:a16="http://schemas.microsoft.com/office/drawing/2014/main" id="{9285CA92-47E6-46E0-B95E-13D2DBDDD9EE}"/>
              </a:ext>
            </a:extLst>
          </p:cNvPr>
          <p:cNvSpPr/>
          <p:nvPr/>
        </p:nvSpPr>
        <p:spPr>
          <a:xfrm>
            <a:off x="2763239" y="4487375"/>
            <a:ext cx="266700" cy="444577"/>
          </a:xfrm>
          <a:prstGeom prst="flowChartOffpageConnector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5" name="Flowchart: Off-page Connector 24">
            <a:extLst>
              <a:ext uri="{FF2B5EF4-FFF2-40B4-BE49-F238E27FC236}">
                <a16:creationId xmlns:a16="http://schemas.microsoft.com/office/drawing/2014/main" id="{29E5CA9F-7057-4095-B5BA-555665B7C7FB}"/>
              </a:ext>
            </a:extLst>
          </p:cNvPr>
          <p:cNvSpPr/>
          <p:nvPr/>
        </p:nvSpPr>
        <p:spPr>
          <a:xfrm>
            <a:off x="772514" y="5277950"/>
            <a:ext cx="266700" cy="444577"/>
          </a:xfrm>
          <a:prstGeom prst="flowChartOffpageConnector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6" name="Flowchart: Off-page Connector 25">
            <a:extLst>
              <a:ext uri="{FF2B5EF4-FFF2-40B4-BE49-F238E27FC236}">
                <a16:creationId xmlns:a16="http://schemas.microsoft.com/office/drawing/2014/main" id="{7148D43B-E629-4F8B-B013-A687579DFF23}"/>
              </a:ext>
            </a:extLst>
          </p:cNvPr>
          <p:cNvSpPr/>
          <p:nvPr/>
        </p:nvSpPr>
        <p:spPr>
          <a:xfrm>
            <a:off x="1439264" y="5277950"/>
            <a:ext cx="266700" cy="444577"/>
          </a:xfrm>
          <a:prstGeom prst="flowChartOffpageConnector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Flowchart: Off-page Connector 26">
            <a:extLst>
              <a:ext uri="{FF2B5EF4-FFF2-40B4-BE49-F238E27FC236}">
                <a16:creationId xmlns:a16="http://schemas.microsoft.com/office/drawing/2014/main" id="{66CF4CC3-78BA-4F4F-BBE1-8873AD10E943}"/>
              </a:ext>
            </a:extLst>
          </p:cNvPr>
          <p:cNvSpPr/>
          <p:nvPr/>
        </p:nvSpPr>
        <p:spPr>
          <a:xfrm>
            <a:off x="2096489" y="5277950"/>
            <a:ext cx="266700" cy="444577"/>
          </a:xfrm>
          <a:prstGeom prst="flowChartOffpageConnector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5ADF2803-02A6-4694-ADCB-BF8F2955AC39}"/>
              </a:ext>
            </a:extLst>
          </p:cNvPr>
          <p:cNvCxnSpPr>
            <a:stCxn id="24" idx="1"/>
            <a:endCxn id="23" idx="3"/>
          </p:cNvCxnSpPr>
          <p:nvPr/>
        </p:nvCxnSpPr>
        <p:spPr>
          <a:xfrm flipH="1">
            <a:off x="2372714" y="4709664"/>
            <a:ext cx="3905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5CDBA716-3924-400F-AAF5-B36A400BFA19}"/>
              </a:ext>
            </a:extLst>
          </p:cNvPr>
          <p:cNvCxnSpPr>
            <a:stCxn id="23" idx="1"/>
            <a:endCxn id="22" idx="3"/>
          </p:cNvCxnSpPr>
          <p:nvPr/>
        </p:nvCxnSpPr>
        <p:spPr>
          <a:xfrm flipH="1">
            <a:off x="1705964" y="4709664"/>
            <a:ext cx="4000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6B6B139A-9629-4C1D-9FA1-B82B3E0A9CD1}"/>
              </a:ext>
            </a:extLst>
          </p:cNvPr>
          <p:cNvCxnSpPr>
            <a:stCxn id="23" idx="2"/>
          </p:cNvCxnSpPr>
          <p:nvPr/>
        </p:nvCxnSpPr>
        <p:spPr>
          <a:xfrm>
            <a:off x="2239364" y="4931952"/>
            <a:ext cx="0" cy="3459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71DCC4E0-8915-425B-B597-2DF49A16AFFF}"/>
              </a:ext>
            </a:extLst>
          </p:cNvPr>
          <p:cNvCxnSpPr>
            <a:stCxn id="22" idx="2"/>
            <a:endCxn id="26" idx="0"/>
          </p:cNvCxnSpPr>
          <p:nvPr/>
        </p:nvCxnSpPr>
        <p:spPr>
          <a:xfrm>
            <a:off x="1572614" y="4931952"/>
            <a:ext cx="0" cy="3459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D6B7F00D-6570-4E91-9A78-7000FFAE90BE}"/>
              </a:ext>
            </a:extLst>
          </p:cNvPr>
          <p:cNvCxnSpPr>
            <a:stCxn id="27" idx="1"/>
          </p:cNvCxnSpPr>
          <p:nvPr/>
        </p:nvCxnSpPr>
        <p:spPr>
          <a:xfrm flipH="1" flipV="1">
            <a:off x="1705964" y="5500238"/>
            <a:ext cx="390525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9D0A9885-0AF1-4062-B444-E51FC619D838}"/>
              </a:ext>
            </a:extLst>
          </p:cNvPr>
          <p:cNvCxnSpPr>
            <a:stCxn id="26" idx="1"/>
            <a:endCxn id="25" idx="3"/>
          </p:cNvCxnSpPr>
          <p:nvPr/>
        </p:nvCxnSpPr>
        <p:spPr>
          <a:xfrm flipH="1">
            <a:off x="1039214" y="5500239"/>
            <a:ext cx="4000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F9D5768-4DDA-4DA0-A746-94E91B651E12}"/>
              </a:ext>
            </a:extLst>
          </p:cNvPr>
          <p:cNvCxnSpPr>
            <a:endCxn id="24" idx="3"/>
          </p:cNvCxnSpPr>
          <p:nvPr/>
        </p:nvCxnSpPr>
        <p:spPr>
          <a:xfrm flipH="1">
            <a:off x="3029939" y="4709663"/>
            <a:ext cx="33337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083D9F4-E65F-4B14-9069-6FF2B99B38F5}"/>
              </a:ext>
            </a:extLst>
          </p:cNvPr>
          <p:cNvCxnSpPr>
            <a:stCxn id="25" idx="1"/>
          </p:cNvCxnSpPr>
          <p:nvPr/>
        </p:nvCxnSpPr>
        <p:spPr>
          <a:xfrm flipH="1" flipV="1">
            <a:off x="495298" y="5500238"/>
            <a:ext cx="277216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83F7B2CA-3081-4359-92FF-1C6A12DB5ABE}"/>
              </a:ext>
            </a:extLst>
          </p:cNvPr>
          <p:cNvCxnSpPr>
            <a:cxnSpLocks/>
            <a:endCxn id="27" idx="3"/>
          </p:cNvCxnSpPr>
          <p:nvPr/>
        </p:nvCxnSpPr>
        <p:spPr>
          <a:xfrm flipH="1">
            <a:off x="2363189" y="5500239"/>
            <a:ext cx="5334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53B5FA4-7254-4EFB-97BD-5AC2CE943D48}"/>
              </a:ext>
            </a:extLst>
          </p:cNvPr>
          <p:cNvCxnSpPr/>
          <p:nvPr/>
        </p:nvCxnSpPr>
        <p:spPr>
          <a:xfrm flipV="1">
            <a:off x="2567976" y="4020650"/>
            <a:ext cx="0" cy="689013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CDEC81D-5EBF-4DD5-80AD-AE9D1743F8A2}"/>
              </a:ext>
            </a:extLst>
          </p:cNvPr>
          <p:cNvCxnSpPr/>
          <p:nvPr/>
        </p:nvCxnSpPr>
        <p:spPr>
          <a:xfrm>
            <a:off x="2567976" y="4483941"/>
            <a:ext cx="1271587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0CC180B-C7B9-425A-A547-2224B26C7B83}"/>
              </a:ext>
            </a:extLst>
          </p:cNvPr>
          <p:cNvCxnSpPr/>
          <p:nvPr/>
        </p:nvCxnSpPr>
        <p:spPr>
          <a:xfrm>
            <a:off x="3830038" y="4483941"/>
            <a:ext cx="0" cy="1362075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E1D8509-F383-4836-A00B-9C5B83EC8057}"/>
              </a:ext>
            </a:extLst>
          </p:cNvPr>
          <p:cNvCxnSpPr/>
          <p:nvPr/>
        </p:nvCxnSpPr>
        <p:spPr>
          <a:xfrm>
            <a:off x="3839563" y="5874591"/>
            <a:ext cx="2495550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BADF839-88F5-47C7-A2BB-BB136D13FB35}"/>
              </a:ext>
            </a:extLst>
          </p:cNvPr>
          <p:cNvCxnSpPr>
            <a:cxnSpLocks/>
          </p:cNvCxnSpPr>
          <p:nvPr/>
        </p:nvCxnSpPr>
        <p:spPr>
          <a:xfrm>
            <a:off x="2239364" y="5076852"/>
            <a:ext cx="1131490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0E1266D-BC61-4FB5-9CEC-471B69EA94BE}"/>
              </a:ext>
            </a:extLst>
          </p:cNvPr>
          <p:cNvCxnSpPr>
            <a:cxnSpLocks/>
          </p:cNvCxnSpPr>
          <p:nvPr/>
        </p:nvCxnSpPr>
        <p:spPr>
          <a:xfrm>
            <a:off x="3370854" y="5076852"/>
            <a:ext cx="0" cy="782123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B5E40A3-268E-48F1-96FE-348D47C5FCC1}"/>
              </a:ext>
            </a:extLst>
          </p:cNvPr>
          <p:cNvCxnSpPr>
            <a:cxnSpLocks/>
          </p:cNvCxnSpPr>
          <p:nvPr/>
        </p:nvCxnSpPr>
        <p:spPr>
          <a:xfrm>
            <a:off x="3380378" y="6322266"/>
            <a:ext cx="4840685" cy="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2DEB5BA-D3F7-4018-8AF7-57398D25B504}"/>
              </a:ext>
            </a:extLst>
          </p:cNvPr>
          <p:cNvCxnSpPr>
            <a:cxnSpLocks/>
          </p:cNvCxnSpPr>
          <p:nvPr/>
        </p:nvCxnSpPr>
        <p:spPr>
          <a:xfrm>
            <a:off x="8154388" y="5931204"/>
            <a:ext cx="0" cy="391062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9874CFA6-1994-4567-9524-3878EBD20A93}"/>
              </a:ext>
            </a:extLst>
          </p:cNvPr>
          <p:cNvSpPr txBox="1"/>
          <p:nvPr/>
        </p:nvSpPr>
        <p:spPr>
          <a:xfrm>
            <a:off x="3904252" y="5540143"/>
            <a:ext cx="172402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/>
              <a:t>Sequential edg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4512B3B-945B-4D5B-99E0-5DB177D25494}"/>
              </a:ext>
            </a:extLst>
          </p:cNvPr>
          <p:cNvSpPr txBox="1"/>
          <p:nvPr/>
        </p:nvSpPr>
        <p:spPr>
          <a:xfrm>
            <a:off x="4063599" y="5987817"/>
            <a:ext cx="123071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/>
              <a:t>Loop edge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8C6AD54-B6B9-4E3E-A4C6-787966399361}"/>
              </a:ext>
            </a:extLst>
          </p:cNvPr>
          <p:cNvSpPr txBox="1"/>
          <p:nvPr/>
        </p:nvSpPr>
        <p:spPr>
          <a:xfrm>
            <a:off x="717355" y="3942069"/>
            <a:ext cx="123149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/>
              <a:t>Pose Graph 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05AD480B-5B10-47FE-B970-CDDD7CECF824}"/>
              </a:ext>
            </a:extLst>
          </p:cNvPr>
          <p:cNvCxnSpPr>
            <a:endCxn id="45" idx="1"/>
          </p:cNvCxnSpPr>
          <p:nvPr/>
        </p:nvCxnSpPr>
        <p:spPr>
          <a:xfrm>
            <a:off x="2567976" y="4709663"/>
            <a:ext cx="1336276" cy="984369"/>
          </a:xfrm>
          <a:prstGeom prst="bentConnector3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FDB0C6F5-D7BB-45E8-B1FE-12A347E94013}"/>
              </a:ext>
            </a:extLst>
          </p:cNvPr>
          <p:cNvCxnSpPr>
            <a:endCxn id="46" idx="1"/>
          </p:cNvCxnSpPr>
          <p:nvPr/>
        </p:nvCxnSpPr>
        <p:spPr>
          <a:xfrm>
            <a:off x="2239364" y="5076852"/>
            <a:ext cx="1824235" cy="1064854"/>
          </a:xfrm>
          <a:prstGeom prst="bentConnector3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17946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VINS-Mono: Working</a:t>
            </a:r>
            <a:endParaRPr lang="en-US" b="1">
              <a:latin typeface="+mn-l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5AB53A6-B58D-4937-8591-ACCDAAEC09B9}"/>
              </a:ext>
            </a:extLst>
          </p:cNvPr>
          <p:cNvSpPr txBox="1"/>
          <p:nvPr/>
        </p:nvSpPr>
        <p:spPr>
          <a:xfrm>
            <a:off x="176909" y="3858137"/>
            <a:ext cx="1183817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very </a:t>
            </a:r>
            <a:r>
              <a:rPr lang="en-US" b="1"/>
              <a:t>/Scene </a:t>
            </a:r>
            <a:r>
              <a:rPr lang="en-US"/>
              <a:t>data goes to </a:t>
            </a:r>
            <a:r>
              <a:rPr lang="en-US" b="1"/>
              <a:t>/</a:t>
            </a:r>
            <a:r>
              <a:rPr lang="en-US" b="1" err="1"/>
              <a:t>feature_tracker</a:t>
            </a:r>
            <a:r>
              <a:rPr lang="en-US" b="1"/>
              <a:t> </a:t>
            </a:r>
            <a:r>
              <a:rPr lang="en-US"/>
              <a:t>(pre-processing) and </a:t>
            </a:r>
            <a:r>
              <a:rPr lang="en-US" b="1"/>
              <a:t>/</a:t>
            </a:r>
            <a:r>
              <a:rPr lang="en-US" b="1" err="1"/>
              <a:t>pose_graph</a:t>
            </a:r>
            <a:r>
              <a:rPr lang="en-US" b="1"/>
              <a:t> </a:t>
            </a:r>
            <a:r>
              <a:rPr lang="en-US"/>
              <a:t>(detect loop closure)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f any matched points from previous poses, </a:t>
            </a:r>
            <a:r>
              <a:rPr lang="en-US" b="1"/>
              <a:t>/</a:t>
            </a:r>
            <a:r>
              <a:rPr lang="en-US" b="1" err="1"/>
              <a:t>pose_graph</a:t>
            </a:r>
            <a:r>
              <a:rPr lang="en-US" b="1"/>
              <a:t> </a:t>
            </a:r>
            <a:r>
              <a:rPr lang="en-US"/>
              <a:t>gives it to </a:t>
            </a:r>
            <a:r>
              <a:rPr lang="en-US" b="1"/>
              <a:t>/</a:t>
            </a:r>
            <a:r>
              <a:rPr lang="en-US" b="1" err="1"/>
              <a:t>vins_estimator</a:t>
            </a:r>
            <a:r>
              <a:rPr lang="en-US" b="1"/>
              <a:t> </a:t>
            </a:r>
            <a:r>
              <a:rPr lang="en-US"/>
              <a:t>(VIO-core) to optimize for it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All marginalized keyframes are saved in </a:t>
            </a:r>
            <a:r>
              <a:rPr lang="en-US" b="1"/>
              <a:t>/</a:t>
            </a:r>
            <a:r>
              <a:rPr lang="en-US" b="1" err="1"/>
              <a:t>pose_graph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urrently, we have set VINS to receive </a:t>
            </a:r>
            <a:r>
              <a:rPr lang="en-US" b="1"/>
              <a:t>IMU data from </a:t>
            </a:r>
            <a:r>
              <a:rPr lang="en-US" b="1" err="1"/>
              <a:t>mavros</a:t>
            </a:r>
            <a:r>
              <a:rPr lang="en-US" b="1"/>
              <a:t> </a:t>
            </a:r>
            <a:r>
              <a:rPr lang="en-US"/>
              <a:t>(can be made to take from </a:t>
            </a:r>
            <a:r>
              <a:rPr lang="en-US" err="1"/>
              <a:t>airsim</a:t>
            </a:r>
            <a:r>
              <a:rPr lang="en-US"/>
              <a:t> too)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Feature tracker tells </a:t>
            </a:r>
            <a:r>
              <a:rPr lang="en-US" b="1"/>
              <a:t>/</a:t>
            </a:r>
            <a:r>
              <a:rPr lang="en-US" b="1" err="1"/>
              <a:t>vins_estimator</a:t>
            </a:r>
            <a:r>
              <a:rPr lang="en-US" b="1"/>
              <a:t> </a:t>
            </a:r>
            <a:r>
              <a:rPr lang="en-US"/>
              <a:t>to restart if it looses track by a separate channel </a:t>
            </a:r>
            <a:r>
              <a:rPr lang="en-US" b="1"/>
              <a:t>/</a:t>
            </a:r>
            <a:r>
              <a:rPr lang="en-US" b="1" err="1"/>
              <a:t>feature_tracker</a:t>
            </a:r>
            <a:r>
              <a:rPr lang="en-US" b="1"/>
              <a:t>/restart</a:t>
            </a:r>
          </a:p>
        </p:txBody>
      </p:sp>
      <p:pic>
        <p:nvPicPr>
          <p:cNvPr id="49" name="Picture 48" descr="A screenshot of a computer&#10;&#10;Description automatically generated">
            <a:extLst>
              <a:ext uri="{FF2B5EF4-FFF2-40B4-BE49-F238E27FC236}">
                <a16:creationId xmlns:a16="http://schemas.microsoft.com/office/drawing/2014/main" id="{27317023-1A62-4B5B-B0B1-68DDD205CD0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6" y="1529714"/>
            <a:ext cx="12192000" cy="1828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4510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037138-CAB4-450F-B61E-0B0E4596E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037138-CAB4-450F-B61E-0B0E4596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36655-E76A-4CF1-ADD5-A032C35D49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04E0A3A-DB34-42B8-91D3-F422B128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14540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VINS-Mono: Temporal </a:t>
            </a:r>
            <a:r>
              <a:rPr lang="en-US" err="1">
                <a:solidFill>
                  <a:schemeClr val="accent1"/>
                </a:solidFill>
              </a:rPr>
              <a:t>Caliberation</a:t>
            </a:r>
            <a:endParaRPr lang="en-US" b="1">
              <a:latin typeface="+mn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EBBB01-93D1-4159-A765-393C3B11C0E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5298" y="2526025"/>
            <a:ext cx="2190750" cy="194733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0198980-4F45-435C-AB01-6D97E665FB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8303" y="4730447"/>
            <a:ext cx="2435225" cy="177058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52E575F-BE86-45F3-8F1D-93AC1016D3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5298" y="969944"/>
            <a:ext cx="3648654" cy="161109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A93FF56E-328C-4D28-8D64-C6BA26A36736}"/>
                  </a:ext>
                </a:extLst>
              </p:cNvPr>
              <p:cNvSpPr txBox="1"/>
              <p:nvPr/>
            </p:nvSpPr>
            <p:spPr>
              <a:xfrm>
                <a:off x="4438012" y="1046982"/>
                <a:ext cx="4580311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>
                    <a:solidFill>
                      <a:schemeClr val="tx1"/>
                    </a:solidFill>
                  </a:rPr>
                  <a:t>IMU and camera measurement don’t arrive at the same time, hence an estimate of </a:t>
                </a:r>
                <a:r>
                  <a:rPr lang="en-US" b="1">
                    <a:solidFill>
                      <a:schemeClr val="tx1"/>
                    </a:solidFill>
                  </a:rPr>
                  <a:t>time delay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𝒅</m:t>
                        </m:r>
                      </m:sub>
                    </m:sSub>
                  </m:oMath>
                </a14:m>
                <a:r>
                  <a:rPr lang="en-US" b="1">
                    <a:solidFill>
                      <a:schemeClr val="tx1"/>
                    </a:solidFill>
                  </a:rPr>
                  <a:t>)</a:t>
                </a:r>
                <a:r>
                  <a:rPr lang="en-US">
                    <a:solidFill>
                      <a:schemeClr val="tx1"/>
                    </a:solidFill>
                  </a:rPr>
                  <a:t> is required</a:t>
                </a:r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A93FF56E-328C-4D28-8D64-C6BA26A367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38012" y="1046982"/>
                <a:ext cx="4580311" cy="923330"/>
              </a:xfrm>
              <a:prstGeom prst="rect">
                <a:avLst/>
              </a:prstGeom>
              <a:blipFill>
                <a:blip r:embed="rId10"/>
                <a:stretch>
                  <a:fillRect l="-1065" t="-3974" r="-1465" b="-993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Picture 10">
            <a:extLst>
              <a:ext uri="{FF2B5EF4-FFF2-40B4-BE49-F238E27FC236}">
                <a16:creationId xmlns:a16="http://schemas.microsoft.com/office/drawing/2014/main" id="{809CE682-BCA0-4DB9-88A8-F1C68A71896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085518" y="2679394"/>
            <a:ext cx="2660650" cy="690106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02F348D-657B-4522-9194-F6B1630DDA40}"/>
              </a:ext>
            </a:extLst>
          </p:cNvPr>
          <p:cNvSpPr txBox="1"/>
          <p:nvPr/>
        </p:nvSpPr>
        <p:spPr>
          <a:xfrm>
            <a:off x="7006270" y="2755821"/>
            <a:ext cx="2733675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/>
              <a:t>Expected location of feature considering time dela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8BA8922-3C5F-4DF3-B884-28D22EAE47F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725885" y="3631875"/>
            <a:ext cx="3280385" cy="64787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0C45691-DEB5-484D-8568-D113FF886678}"/>
              </a:ext>
            </a:extLst>
          </p:cNvPr>
          <p:cNvSpPr txBox="1"/>
          <p:nvPr/>
        </p:nvSpPr>
        <p:spPr>
          <a:xfrm>
            <a:off x="7195817" y="3840521"/>
            <a:ext cx="235458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/>
              <a:t>New state func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A3E0459-9792-4B56-A913-B3CB4D98B1F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447781" y="4473358"/>
            <a:ext cx="3280386" cy="2230956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F01D7FF-CFE4-4510-87F3-20B5ED9CBD27}"/>
              </a:ext>
            </a:extLst>
          </p:cNvPr>
          <p:cNvSpPr txBox="1"/>
          <p:nvPr/>
        </p:nvSpPr>
        <p:spPr>
          <a:xfrm>
            <a:off x="6969400" y="5246409"/>
            <a:ext cx="2807414" cy="7386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/>
              <a:t>Using same optimization cost function as before but with a newer state function</a:t>
            </a:r>
          </a:p>
        </p:txBody>
      </p:sp>
    </p:spTree>
    <p:extLst>
      <p:ext uri="{BB962C8B-B14F-4D97-AF65-F5344CB8AC3E}">
        <p14:creationId xmlns:p14="http://schemas.microsoft.com/office/powerpoint/2010/main" val="409546728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4343401" cy="419100"/>
          </a:xfrm>
        </p:spPr>
        <p:txBody>
          <a:bodyPr/>
          <a:lstStyle/>
          <a:p>
            <a:r>
              <a:rPr lang="en-US"/>
              <a:t>Frequency TE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3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8E7359-E084-44BB-B0FB-DCA3C0E297DB}"/>
              </a:ext>
            </a:extLst>
          </p:cNvPr>
          <p:cNvSpPr txBox="1"/>
          <p:nvPr/>
        </p:nvSpPr>
        <p:spPr>
          <a:xfrm>
            <a:off x="495299" y="1343025"/>
            <a:ext cx="5867401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/>
              <a:t>Tweaks made: </a:t>
            </a:r>
          </a:p>
          <a:p>
            <a:pPr algn="l"/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ROS wrapper publishing rate and delay duration changed</a:t>
            </a:r>
            <a:br>
              <a:rPr lang="en-US"/>
            </a:br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Disabled all checks for lidar and other sensors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6D358DD-85DE-4750-B963-FAB9C551E41D}"/>
              </a:ext>
            </a:extLst>
          </p:cNvPr>
          <p:cNvGraphicFramePr>
            <a:graphicFrameLocks noGrp="1"/>
          </p:cNvGraphicFramePr>
          <p:nvPr/>
        </p:nvGraphicFramePr>
        <p:xfrm>
          <a:off x="552451" y="3529133"/>
          <a:ext cx="5029200" cy="22715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400">
                  <a:extLst>
                    <a:ext uri="{9D8B030D-6E8A-4147-A177-3AD203B41FA5}">
                      <a16:colId xmlns:a16="http://schemas.microsoft.com/office/drawing/2014/main" val="1423856498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2796974406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154811999"/>
                    </a:ext>
                  </a:extLst>
                </a:gridCol>
              </a:tblGrid>
              <a:tr h="684738">
                <a:tc>
                  <a:txBody>
                    <a:bodyPr/>
                    <a:lstStyle/>
                    <a:p>
                      <a:r>
                        <a:rPr lang="en-US"/>
                        <a:t>IMU topic 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Image topic 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VINS output frequen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5710622"/>
                  </a:ext>
                </a:extLst>
              </a:tr>
              <a:tr h="396713">
                <a:tc>
                  <a:txBody>
                    <a:bodyPr/>
                    <a:lstStyle/>
                    <a:p>
                      <a:r>
                        <a:rPr lang="en-US"/>
                        <a:t>4 </a:t>
                      </a:r>
                      <a:r>
                        <a:rPr lang="en-US" err="1"/>
                        <a:t>hz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4 </a:t>
                      </a:r>
                      <a:r>
                        <a:rPr lang="en-US" err="1"/>
                        <a:t>hz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4 </a:t>
                      </a:r>
                      <a:r>
                        <a:rPr lang="en-US" err="1"/>
                        <a:t>hz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1101128"/>
                  </a:ext>
                </a:extLst>
              </a:tr>
              <a:tr h="396713">
                <a:tc>
                  <a:txBody>
                    <a:bodyPr/>
                    <a:lstStyle/>
                    <a:p>
                      <a:r>
                        <a:rPr lang="en-US"/>
                        <a:t>20 </a:t>
                      </a:r>
                      <a:r>
                        <a:rPr lang="en-US" err="1"/>
                        <a:t>hz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4 </a:t>
                      </a:r>
                      <a:r>
                        <a:rPr lang="en-US" err="1"/>
                        <a:t>hz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0 </a:t>
                      </a:r>
                      <a:r>
                        <a:rPr lang="en-US" err="1"/>
                        <a:t>hz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7322693"/>
                  </a:ext>
                </a:extLst>
              </a:tr>
              <a:tr h="396713">
                <a:tc>
                  <a:txBody>
                    <a:bodyPr/>
                    <a:lstStyle/>
                    <a:p>
                      <a:r>
                        <a:rPr lang="en-US"/>
                        <a:t>50 </a:t>
                      </a:r>
                      <a:r>
                        <a:rPr lang="en-US" err="1"/>
                        <a:t>hz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4 </a:t>
                      </a:r>
                      <a:r>
                        <a:rPr lang="en-US" err="1"/>
                        <a:t>hz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0 </a:t>
                      </a:r>
                      <a:r>
                        <a:rPr lang="en-US" err="1"/>
                        <a:t>hz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8026881"/>
                  </a:ext>
                </a:extLst>
              </a:tr>
              <a:tr h="396713">
                <a:tc>
                  <a:txBody>
                    <a:bodyPr/>
                    <a:lstStyle/>
                    <a:p>
                      <a:r>
                        <a:rPr lang="en-US"/>
                        <a:t>20 </a:t>
                      </a:r>
                      <a:r>
                        <a:rPr lang="en-US" err="1"/>
                        <a:t>hz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5 </a:t>
                      </a:r>
                      <a:r>
                        <a:rPr lang="en-US" err="1"/>
                        <a:t>hz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0 </a:t>
                      </a:r>
                      <a:r>
                        <a:rPr lang="en-US" err="1"/>
                        <a:t>hz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8605832"/>
                  </a:ext>
                </a:extLst>
              </a:tr>
            </a:tbl>
          </a:graphicData>
        </a:graphic>
      </p:graphicFrame>
      <p:sp>
        <p:nvSpPr>
          <p:cNvPr id="18" name="Title 7">
            <a:extLst>
              <a:ext uri="{FF2B5EF4-FFF2-40B4-BE49-F238E27FC236}">
                <a16:creationId xmlns:a16="http://schemas.microsoft.com/office/drawing/2014/main" id="{25872303-3BAE-4452-A8EE-A0E9F54E4E4C}"/>
              </a:ext>
            </a:extLst>
          </p:cNvPr>
          <p:cNvSpPr txBox="1">
            <a:spLocks/>
          </p:cNvSpPr>
          <p:nvPr/>
        </p:nvSpPr>
        <p:spPr>
          <a:xfrm>
            <a:off x="6610351" y="495300"/>
            <a:ext cx="4343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Range of mo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ED97E74-7079-4FD4-9452-816A6509F83E}"/>
              </a:ext>
            </a:extLst>
          </p:cNvPr>
          <p:cNvSpPr txBox="1"/>
          <p:nvPr/>
        </p:nvSpPr>
        <p:spPr>
          <a:xfrm>
            <a:off x="6610351" y="1343025"/>
            <a:ext cx="5333999" cy="36009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/>
              <a:t>Shapes tested: </a:t>
            </a:r>
          </a:p>
          <a:p>
            <a:pPr algn="l"/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Bigger rectangle (~200m perimeter) with </a:t>
            </a:r>
            <a:r>
              <a:rPr lang="en-US" b="1"/>
              <a:t>no loop closure</a:t>
            </a:r>
            <a:br>
              <a:rPr lang="en-US"/>
            </a:br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Random directional motions 100-200m traversed.</a:t>
            </a:r>
            <a:br>
              <a:rPr lang="en-US"/>
            </a:br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Deviations become significant as path length is increased beyond that without loop closure</a:t>
            </a:r>
            <a:br>
              <a:rPr lang="en-US"/>
            </a:br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Could not test path lengths </a:t>
            </a:r>
            <a:r>
              <a:rPr lang="en-US" err="1"/>
              <a:t>upto</a:t>
            </a:r>
            <a:r>
              <a:rPr lang="en-US"/>
              <a:t> a 1-2 km as drone moves out of environment and looses all features.</a:t>
            </a:r>
          </a:p>
        </p:txBody>
      </p:sp>
    </p:spTree>
    <p:extLst>
      <p:ext uri="{BB962C8B-B14F-4D97-AF65-F5344CB8AC3E}">
        <p14:creationId xmlns:p14="http://schemas.microsoft.com/office/powerpoint/2010/main" val="50692798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de Architecture (VIN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4</a:t>
            </a:fld>
            <a:endParaRPr lang="en-US"/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9DE9CB9-E180-4AB2-95B5-F79BE415D6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315" y="1437940"/>
            <a:ext cx="11355385" cy="4801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7259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de Architecture (VIN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5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D72DF4-2E60-4B05-9EC6-F36C07D1FF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5787" y="1209675"/>
            <a:ext cx="10734675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40520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de Architecture (VIN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6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88B3FE-5561-4186-A7CA-5C2BE40596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472754"/>
            <a:ext cx="12192000" cy="3912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45611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D99C13-2B5B-4B0D-B414-CBCCA97E72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2D99C13-2B5B-4B0D-B414-CBCCA97E7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AA4D38-7545-450E-ABE2-1E6AAC56D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FB07E5-EBEE-4F05-BC8D-05A647F5B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de Architecture (VIN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97A8F-FE40-4889-B12E-1C18E4A34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7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368C138-9E7C-4EDD-A2E7-6056D06826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205037"/>
            <a:ext cx="12192000" cy="4447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5794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1159293-C78F-41B5-A74A-DFEF615945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029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1159293-C78F-41B5-A74A-DFEF615945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466F9B7-9838-4402-BEF2-5A286BF645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B73EE59-9AA8-4FBE-8BDD-E5B2303EA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>
                <a:ea typeface="+mj-lt"/>
                <a:cs typeface="+mj-lt"/>
              </a:rPr>
              <a:t>VIO TECHNIQUES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BF2C38-6BE6-4F24-B5DE-C04CDBA26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9F2242A-139A-4988-B9DD-E5D5F4BE7FBE}"/>
              </a:ext>
            </a:extLst>
          </p:cNvPr>
          <p:cNvSpPr/>
          <p:nvPr/>
        </p:nvSpPr>
        <p:spPr>
          <a:xfrm>
            <a:off x="495299" y="1409700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Filtering based</a:t>
            </a:r>
            <a:endParaRPr lang="en-US" sz="2000">
              <a:ea typeface="+mn-lt"/>
              <a:cs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6C01003-1E89-497E-829A-8F1C1718C38F}"/>
              </a:ext>
            </a:extLst>
          </p:cNvPr>
          <p:cNvSpPr/>
          <p:nvPr/>
        </p:nvSpPr>
        <p:spPr>
          <a:xfrm>
            <a:off x="6222999" y="1409700"/>
            <a:ext cx="547687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Optimization based</a:t>
            </a:r>
            <a:endParaRPr lang="en-US" sz="2000">
              <a:ea typeface="+mn-lt"/>
              <a:cs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5059F6-087B-42C4-83BA-515AB13A251B}"/>
              </a:ext>
            </a:extLst>
          </p:cNvPr>
          <p:cNvSpPr/>
          <p:nvPr/>
        </p:nvSpPr>
        <p:spPr>
          <a:xfrm>
            <a:off x="495299" y="1837871"/>
            <a:ext cx="5476876" cy="452156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just">
              <a:buFont typeface="Arial,Sans-Serif"/>
              <a:buChar char="•"/>
            </a:pPr>
            <a:endParaRPr lang="en-US" sz="2000">
              <a:solidFill>
                <a:schemeClr val="tx1"/>
              </a:solidFill>
              <a:cs typeface="Arial"/>
            </a:endParaRPr>
          </a:p>
          <a:p>
            <a:pPr marL="285750" indent="-285750" algn="just">
              <a:buFont typeface="Arial,Sans-Serif"/>
              <a:buChar char="•"/>
            </a:pPr>
            <a:endParaRPr lang="en-US" sz="2000">
              <a:solidFill>
                <a:schemeClr val="tx1"/>
              </a:solidFill>
              <a:cs typeface="Arial"/>
            </a:endParaRPr>
          </a:p>
          <a:p>
            <a:pPr marL="285750" indent="-285750" algn="just">
              <a:buFont typeface="Arial,Sans-Serif"/>
              <a:buChar char="•"/>
            </a:pPr>
            <a:endParaRPr lang="en-US" sz="2000">
              <a:solidFill>
                <a:schemeClr val="tx1"/>
              </a:solidFill>
              <a:cs typeface="Arial"/>
            </a:endParaRPr>
          </a:p>
          <a:p>
            <a:pPr marL="285750" indent="-285750" algn="just">
              <a:buFont typeface="Arial,Sans-Serif"/>
              <a:buChar char="•"/>
            </a:pPr>
            <a:endParaRPr lang="en-US" sz="2000">
              <a:solidFill>
                <a:schemeClr val="tx1"/>
              </a:solidFill>
              <a:cs typeface="Arial"/>
            </a:endParaRPr>
          </a:p>
          <a:p>
            <a:pPr algn="just"/>
            <a:r>
              <a:rPr lang="en-US" sz="2000">
                <a:solidFill>
                  <a:schemeClr val="accent1"/>
                </a:solidFill>
                <a:cs typeface="Arial"/>
              </a:rPr>
              <a:t> *</a:t>
            </a:r>
            <a:r>
              <a:rPr lang="en-US" sz="2000">
                <a:solidFill>
                  <a:schemeClr val="tx1"/>
                </a:solidFill>
                <a:cs typeface="Arial"/>
              </a:rPr>
              <a:t> Inertial data                </a:t>
            </a:r>
            <a:r>
              <a:rPr lang="en-US" sz="2000">
                <a:solidFill>
                  <a:schemeClr val="accent1"/>
                </a:solidFill>
                <a:cs typeface="Arial"/>
              </a:rPr>
              <a:t>*</a:t>
            </a:r>
            <a:r>
              <a:rPr lang="en-US" sz="2000">
                <a:solidFill>
                  <a:schemeClr val="tx1"/>
                </a:solidFill>
                <a:cs typeface="Arial"/>
              </a:rPr>
              <a:t> Visual data          </a:t>
            </a:r>
            <a:endParaRPr lang="en-US">
              <a:solidFill>
                <a:schemeClr val="tx1"/>
              </a:solidFill>
              <a:cs typeface="Arial"/>
            </a:endParaRPr>
          </a:p>
          <a:p>
            <a:pPr algn="just"/>
            <a:r>
              <a:rPr lang="en-US" sz="2000">
                <a:solidFill>
                  <a:schemeClr val="accent1"/>
                </a:solidFill>
                <a:cs typeface="Arial"/>
              </a:rPr>
              <a:t> *</a:t>
            </a:r>
            <a:r>
              <a:rPr lang="en-US" sz="2000">
                <a:solidFill>
                  <a:schemeClr val="tx1"/>
                </a:solidFill>
                <a:cs typeface="Arial"/>
              </a:rPr>
              <a:t> Dynamic</a:t>
            </a:r>
            <a:r>
              <a:rPr lang="en-US" sz="2000">
                <a:solidFill>
                  <a:schemeClr val="tx1"/>
                </a:solidFill>
                <a:ea typeface="+mn-lt"/>
                <a:cs typeface="+mn-lt"/>
              </a:rPr>
              <a:t> model         </a:t>
            </a:r>
            <a:r>
              <a:rPr lang="en-US" sz="2000">
                <a:solidFill>
                  <a:schemeClr val="accent1"/>
                </a:solidFill>
                <a:ea typeface="+mn-lt"/>
                <a:cs typeface="+mn-lt"/>
              </a:rPr>
              <a:t> * </a:t>
            </a:r>
            <a:r>
              <a:rPr lang="en-US" sz="2000">
                <a:solidFill>
                  <a:schemeClr val="tx1"/>
                </a:solidFill>
                <a:ea typeface="+mn-lt"/>
                <a:cs typeface="+mn-lt"/>
              </a:rPr>
              <a:t>Measurement model </a:t>
            </a:r>
          </a:p>
          <a:p>
            <a:pPr algn="just"/>
            <a:r>
              <a:rPr lang="en-US" sz="2000">
                <a:solidFill>
                  <a:schemeClr val="tx1"/>
                </a:solidFill>
                <a:ea typeface="+mn-lt"/>
                <a:cs typeface="+mn-lt"/>
              </a:rPr>
              <a:t>(prior distribution)</a:t>
            </a:r>
            <a:endParaRPr lang="en-US" sz="2000">
              <a:solidFill>
                <a:schemeClr val="tx1"/>
              </a:solidFill>
              <a:cs typeface="Arial"/>
            </a:endParaRPr>
          </a:p>
          <a:p>
            <a:pPr algn="just"/>
            <a:endParaRPr lang="en-US" sz="2000">
              <a:solidFill>
                <a:schemeClr val="tx1"/>
              </a:solidFill>
              <a:cs typeface="Arial"/>
            </a:endParaRPr>
          </a:p>
          <a:p>
            <a:pPr marL="285750" indent="-285750" algn="just">
              <a:buFont typeface="Arial,Sans-Serif"/>
              <a:buChar char="•"/>
            </a:pPr>
            <a:r>
              <a:rPr lang="en-US" sz="2000">
                <a:solidFill>
                  <a:schemeClr val="tx1"/>
                </a:solidFill>
                <a:cs typeface="Arial"/>
              </a:rPr>
              <a:t>Faster and computationally cheap</a:t>
            </a:r>
            <a:endParaRPr lang="en-US" sz="2000">
              <a:solidFill>
                <a:schemeClr val="tx1"/>
              </a:solidFill>
              <a:ea typeface="+mn-lt"/>
              <a:cs typeface="+mn-lt"/>
            </a:endParaRPr>
          </a:p>
          <a:p>
            <a:pPr marL="285750" indent="-285750" algn="just">
              <a:buFont typeface="Arial,Sans-Serif"/>
              <a:buChar char="•"/>
            </a:pPr>
            <a:r>
              <a:rPr lang="en-US" sz="2000">
                <a:solidFill>
                  <a:schemeClr val="tx1"/>
                </a:solidFill>
                <a:cs typeface="Arial"/>
              </a:rPr>
              <a:t>Has larger error and memory consumption</a:t>
            </a:r>
            <a:endParaRPr lang="en-US" sz="2000">
              <a:solidFill>
                <a:schemeClr val="tx1"/>
              </a:solidFill>
              <a:ea typeface="+mn-lt"/>
              <a:cs typeface="+mn-lt"/>
            </a:endParaRPr>
          </a:p>
          <a:p>
            <a:pPr marL="285750" indent="-285750" algn="just">
              <a:buFont typeface="Arial,Sans-Serif"/>
              <a:buChar char="•"/>
            </a:pPr>
            <a:r>
              <a:rPr lang="en-US" sz="2000">
                <a:solidFill>
                  <a:schemeClr val="tx1"/>
                </a:solidFill>
                <a:cs typeface="Arial"/>
              </a:rPr>
              <a:t>Fail to recover from lost state</a:t>
            </a:r>
            <a:endParaRPr lang="en-US" sz="2000">
              <a:solidFill>
                <a:schemeClr val="tx1"/>
              </a:solidFill>
              <a:ea typeface="+mn-lt"/>
              <a:cs typeface="+mn-lt"/>
            </a:endParaRPr>
          </a:p>
          <a:p>
            <a:pPr algn="just"/>
            <a:r>
              <a:rPr lang="en-US" sz="2000">
                <a:solidFill>
                  <a:schemeClr val="tx1"/>
                </a:solidFill>
                <a:cs typeface="Arial"/>
              </a:rPr>
              <a:t>Ex-EKF</a:t>
            </a:r>
          </a:p>
          <a:p>
            <a:pPr algn="just"/>
            <a:endParaRPr lang="en-US" sz="2000">
              <a:solidFill>
                <a:schemeClr val="tx1"/>
              </a:solidFill>
              <a:cs typeface="Arial"/>
            </a:endParaRPr>
          </a:p>
          <a:p>
            <a:pPr algn="just"/>
            <a:endParaRPr lang="en-US" sz="2000">
              <a:solidFill>
                <a:schemeClr val="tx1"/>
              </a:solidFill>
              <a:cs typeface="Arial"/>
            </a:endParaRPr>
          </a:p>
          <a:p>
            <a:pPr algn="just"/>
            <a:endParaRPr lang="en-US" sz="2000">
              <a:solidFill>
                <a:srgbClr val="000000"/>
              </a:solidFill>
              <a:cs typeface="Arial"/>
            </a:endParaRPr>
          </a:p>
          <a:p>
            <a:pPr>
              <a:spcAft>
                <a:spcPts val="600"/>
              </a:spcAft>
            </a:pPr>
            <a:endParaRPr lang="en-US" sz="20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745A91-8A68-4BBA-B8E1-E6E683AF3061}"/>
              </a:ext>
            </a:extLst>
          </p:cNvPr>
          <p:cNvSpPr/>
          <p:nvPr/>
        </p:nvSpPr>
        <p:spPr>
          <a:xfrm>
            <a:off x="6222999" y="1837871"/>
            <a:ext cx="5467805" cy="453970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spcAft>
                <a:spcPts val="600"/>
              </a:spcAft>
              <a:buFont typeface="Arial,Sans-Serif"/>
              <a:buChar char="•"/>
            </a:pPr>
            <a:endParaRPr lang="en-US" sz="2000">
              <a:solidFill>
                <a:schemeClr val="tx1"/>
              </a:solidFill>
              <a:cs typeface="Arial"/>
            </a:endParaRPr>
          </a:p>
          <a:p>
            <a:pPr marL="342900" indent="-342900">
              <a:spcAft>
                <a:spcPts val="600"/>
              </a:spcAft>
              <a:buFont typeface="Arial,Sans-Serif"/>
              <a:buChar char="•"/>
            </a:pPr>
            <a:endParaRPr lang="en-US" sz="2000">
              <a:solidFill>
                <a:schemeClr val="tx1"/>
              </a:solidFill>
              <a:cs typeface="Arial"/>
            </a:endParaRPr>
          </a:p>
          <a:p>
            <a:pPr marL="342900" indent="-342900">
              <a:spcAft>
                <a:spcPts val="600"/>
              </a:spcAft>
              <a:buFont typeface="Arial,Sans-Serif"/>
              <a:buChar char="•"/>
            </a:pPr>
            <a:endParaRPr lang="en-US" sz="2000">
              <a:solidFill>
                <a:schemeClr val="tx1"/>
              </a:solidFill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sz="2000">
                <a:solidFill>
                  <a:schemeClr val="accent1"/>
                </a:solidFill>
                <a:cs typeface="Arial"/>
              </a:rPr>
              <a:t>  * </a:t>
            </a:r>
            <a:r>
              <a:rPr lang="en-US" sz="2000">
                <a:solidFill>
                  <a:schemeClr val="tx1"/>
                </a:solidFill>
                <a:cs typeface="Arial"/>
              </a:rPr>
              <a:t>Feature extraction           </a:t>
            </a:r>
            <a:r>
              <a:rPr lang="en-US" sz="2000">
                <a:solidFill>
                  <a:schemeClr val="accent1"/>
                </a:solidFill>
                <a:cs typeface="Arial"/>
              </a:rPr>
              <a:t>*</a:t>
            </a:r>
            <a:r>
              <a:rPr lang="en-US" sz="2000">
                <a:solidFill>
                  <a:schemeClr val="tx1"/>
                </a:solidFill>
                <a:cs typeface="Arial"/>
              </a:rPr>
              <a:t> Cost function</a:t>
            </a:r>
          </a:p>
          <a:p>
            <a:pPr>
              <a:spcAft>
                <a:spcPts val="600"/>
              </a:spcAft>
            </a:pPr>
            <a:r>
              <a:rPr lang="en-US" sz="2000">
                <a:solidFill>
                  <a:schemeClr val="accent1"/>
                </a:solidFill>
                <a:cs typeface="Arial"/>
              </a:rPr>
              <a:t>  *</a:t>
            </a:r>
            <a:r>
              <a:rPr lang="en-US" sz="2000">
                <a:solidFill>
                  <a:schemeClr val="tx1"/>
                </a:solidFill>
                <a:cs typeface="Arial"/>
              </a:rPr>
              <a:t> Reprojection error           </a:t>
            </a:r>
            <a:r>
              <a:rPr lang="en-US" sz="2000">
                <a:solidFill>
                  <a:schemeClr val="accent1"/>
                </a:solidFill>
                <a:cs typeface="Arial"/>
              </a:rPr>
              <a:t>*</a:t>
            </a:r>
            <a:r>
              <a:rPr lang="en-US" sz="2000">
                <a:solidFill>
                  <a:schemeClr val="tx1"/>
                </a:solidFill>
                <a:cs typeface="Arial"/>
              </a:rPr>
              <a:t> Optimization</a:t>
            </a:r>
          </a:p>
          <a:p>
            <a:pPr marL="342900" indent="-342900">
              <a:spcAft>
                <a:spcPts val="600"/>
              </a:spcAft>
              <a:buFont typeface="Arial,Sans-Serif"/>
              <a:buChar char="•"/>
            </a:pPr>
            <a:r>
              <a:rPr lang="en-US" sz="2000">
                <a:solidFill>
                  <a:schemeClr val="tx1"/>
                </a:solidFill>
                <a:ea typeface="+mn-lt"/>
                <a:cs typeface="+mn-lt"/>
              </a:rPr>
              <a:t>Inertial measurement is treated as prior</a:t>
            </a:r>
            <a:endParaRPr lang="en-US" sz="2000">
              <a:solidFill>
                <a:schemeClr val="tx1"/>
              </a:solidFill>
              <a:cs typeface="Arial"/>
            </a:endParaRPr>
          </a:p>
          <a:p>
            <a:pPr>
              <a:spcAft>
                <a:spcPts val="600"/>
              </a:spcAft>
            </a:pPr>
            <a:endParaRPr lang="en-US" sz="2000">
              <a:solidFill>
                <a:schemeClr val="tx1"/>
              </a:solidFill>
              <a:cs typeface="Arial"/>
            </a:endParaRPr>
          </a:p>
          <a:p>
            <a:pPr marL="342900" indent="-342900">
              <a:spcAft>
                <a:spcPts val="600"/>
              </a:spcAft>
              <a:buFont typeface="Arial,Sans-Serif"/>
              <a:buChar char="•"/>
            </a:pPr>
            <a:r>
              <a:rPr lang="en-US" sz="2000">
                <a:solidFill>
                  <a:schemeClr val="tx1"/>
                </a:solidFill>
                <a:cs typeface="Arial"/>
              </a:rPr>
              <a:t>reduction of error through re linearization</a:t>
            </a:r>
            <a:endParaRPr lang="en-US" sz="2000">
              <a:solidFill>
                <a:schemeClr val="tx1"/>
              </a:solidFill>
              <a:ea typeface="+mn-lt"/>
              <a:cs typeface="+mn-lt"/>
            </a:endParaRPr>
          </a:p>
          <a:p>
            <a:pPr marL="342900" indent="-342900">
              <a:spcAft>
                <a:spcPts val="600"/>
              </a:spcAft>
              <a:buFont typeface="Arial,Sans-Serif"/>
              <a:buChar char="•"/>
            </a:pPr>
            <a:r>
              <a:rPr lang="en-US" sz="2000">
                <a:solidFill>
                  <a:schemeClr val="tx1"/>
                </a:solidFill>
                <a:cs typeface="Arial"/>
              </a:rPr>
              <a:t>Computationally intensive (high cost)</a:t>
            </a:r>
            <a:endParaRPr lang="en-US" sz="2000">
              <a:solidFill>
                <a:schemeClr val="tx1"/>
              </a:solidFill>
              <a:ea typeface="+mn-lt"/>
              <a:cs typeface="+mn-lt"/>
            </a:endParaRPr>
          </a:p>
          <a:p>
            <a:pPr marL="342900" indent="-342900">
              <a:spcAft>
                <a:spcPts val="600"/>
              </a:spcAft>
              <a:buFont typeface="Arial,Sans-Serif"/>
              <a:buChar char="•"/>
            </a:pPr>
            <a:r>
              <a:rPr lang="en-US" sz="2000">
                <a:solidFill>
                  <a:schemeClr val="tx1"/>
                </a:solidFill>
                <a:cs typeface="Arial"/>
              </a:rPr>
              <a:t>Less error and memory requirement</a:t>
            </a:r>
            <a:endParaRPr lang="en-US" sz="2000">
              <a:solidFill>
                <a:schemeClr val="tx1"/>
              </a:solidFill>
              <a:ea typeface="+mn-lt"/>
              <a:cs typeface="+mn-lt"/>
            </a:endParaRPr>
          </a:p>
          <a:p>
            <a:pPr marL="342900" indent="-342900">
              <a:spcAft>
                <a:spcPts val="600"/>
              </a:spcAft>
              <a:buFont typeface="Arial,Sans-Serif"/>
              <a:buChar char="•"/>
            </a:pPr>
            <a:r>
              <a:rPr lang="en-US" sz="2000">
                <a:solidFill>
                  <a:schemeClr val="tx1"/>
                </a:solidFill>
                <a:cs typeface="Arial"/>
              </a:rPr>
              <a:t>May or may not recover lost state</a:t>
            </a:r>
            <a:endParaRPr lang="en-US" sz="2000">
              <a:solidFill>
                <a:schemeClr val="tx1"/>
              </a:solidFill>
              <a:ea typeface="+mn-lt"/>
              <a:cs typeface="+mn-lt"/>
            </a:endParaRPr>
          </a:p>
          <a:p>
            <a:pPr lvl="0">
              <a:spcAft>
                <a:spcPts val="600"/>
              </a:spcAft>
            </a:pPr>
            <a:endParaRPr lang="en-US" sz="2000" b="1">
              <a:cs typeface="Arial"/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19E229E-C01F-466B-9941-31BEBEBE06F7}"/>
              </a:ext>
            </a:extLst>
          </p:cNvPr>
          <p:cNvCxnSpPr/>
          <p:nvPr/>
        </p:nvCxnSpPr>
        <p:spPr>
          <a:xfrm>
            <a:off x="3162300" y="1856012"/>
            <a:ext cx="415472" cy="333830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BBF0932-24AD-4497-852A-230B34ADC842}"/>
              </a:ext>
            </a:extLst>
          </p:cNvPr>
          <p:cNvCxnSpPr>
            <a:cxnSpLocks/>
          </p:cNvCxnSpPr>
          <p:nvPr/>
        </p:nvCxnSpPr>
        <p:spPr>
          <a:xfrm flipH="1">
            <a:off x="2416627" y="1856014"/>
            <a:ext cx="419100" cy="333828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6E0694A-89F1-42A7-944C-3D88DC36F63F}"/>
              </a:ext>
            </a:extLst>
          </p:cNvPr>
          <p:cNvSpPr/>
          <p:nvPr/>
        </p:nvSpPr>
        <p:spPr>
          <a:xfrm>
            <a:off x="883104" y="2153103"/>
            <a:ext cx="2202540" cy="578756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cs typeface="Arial"/>
            </a:endParaRPr>
          </a:p>
          <a:p>
            <a:pPr algn="ctr"/>
            <a:endParaRPr lang="en-US">
              <a:solidFill>
                <a:schemeClr val="tx1"/>
              </a:solidFill>
              <a:cs typeface="Arial"/>
            </a:endParaRPr>
          </a:p>
          <a:p>
            <a:pPr algn="ctr"/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Prediction step</a:t>
            </a:r>
          </a:p>
          <a:p>
            <a:pPr algn="ctr"/>
            <a:endParaRPr lang="en-US">
              <a:solidFill>
                <a:schemeClr val="tx1"/>
              </a:solidFill>
              <a:cs typeface="Arial"/>
            </a:endParaRPr>
          </a:p>
          <a:p>
            <a:pPr algn="ctr"/>
            <a:endParaRPr lang="en-US">
              <a:solidFill>
                <a:schemeClr val="tx1"/>
              </a:solidFill>
              <a:cs typeface="Arial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7CB8127-6788-4BEA-9CED-FF956F003658}"/>
              </a:ext>
            </a:extLst>
          </p:cNvPr>
          <p:cNvSpPr/>
          <p:nvPr/>
        </p:nvSpPr>
        <p:spPr>
          <a:xfrm>
            <a:off x="3232603" y="2216603"/>
            <a:ext cx="2202540" cy="506184"/>
          </a:xfrm>
          <a:prstGeom prst="round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ea typeface="+mn-lt"/>
              <a:cs typeface="+mn-lt"/>
            </a:endParaRPr>
          </a:p>
          <a:p>
            <a:pPr algn="ctr"/>
            <a:endParaRPr lang="en-US">
              <a:solidFill>
                <a:schemeClr val="tx1"/>
              </a:solidFill>
              <a:ea typeface="+mn-lt"/>
              <a:cs typeface="+mn-lt"/>
            </a:endParaRPr>
          </a:p>
          <a:p>
            <a:pPr algn="ctr"/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Updating step</a:t>
            </a:r>
            <a:endParaRPr lang="en-US">
              <a:solidFill>
                <a:schemeClr val="tx1"/>
              </a:solidFill>
            </a:endParaRPr>
          </a:p>
          <a:p>
            <a:pPr algn="ctr"/>
            <a:endParaRPr lang="en-US">
              <a:solidFill>
                <a:schemeClr val="tx1"/>
              </a:solidFill>
              <a:ea typeface="+mn-lt"/>
              <a:cs typeface="+mn-lt"/>
            </a:endParaRPr>
          </a:p>
          <a:p>
            <a:pPr algn="ctr"/>
            <a:endParaRPr lang="en-US">
              <a:solidFill>
                <a:schemeClr val="tx1"/>
              </a:solidFill>
              <a:cs typeface="Arial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2B1A1389-DB7F-4097-BF9A-D2E37A0542D7}"/>
              </a:ext>
            </a:extLst>
          </p:cNvPr>
          <p:cNvCxnSpPr>
            <a:cxnSpLocks/>
          </p:cNvCxnSpPr>
          <p:nvPr/>
        </p:nvCxnSpPr>
        <p:spPr>
          <a:xfrm>
            <a:off x="9058727" y="1846940"/>
            <a:ext cx="306615" cy="388258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0271ED6-1AB1-48AC-9CC3-014DFBF97312}"/>
              </a:ext>
            </a:extLst>
          </p:cNvPr>
          <p:cNvCxnSpPr>
            <a:cxnSpLocks/>
          </p:cNvCxnSpPr>
          <p:nvPr/>
        </p:nvCxnSpPr>
        <p:spPr>
          <a:xfrm flipH="1">
            <a:off x="8567058" y="1846940"/>
            <a:ext cx="301170" cy="333830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4C968BCB-4900-4575-A44C-3F7F86E2B57F}"/>
              </a:ext>
            </a:extLst>
          </p:cNvPr>
          <p:cNvSpPr/>
          <p:nvPr/>
        </p:nvSpPr>
        <p:spPr>
          <a:xfrm>
            <a:off x="6652532" y="2252888"/>
            <a:ext cx="2202540" cy="578756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cs typeface="Arial"/>
            </a:endParaRPr>
          </a:p>
          <a:p>
            <a:pPr algn="ctr"/>
            <a:endParaRPr lang="en-US">
              <a:solidFill>
                <a:schemeClr val="tx1"/>
              </a:solidFill>
              <a:cs typeface="Arial"/>
            </a:endParaRPr>
          </a:p>
          <a:p>
            <a:pPr algn="ctr"/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Mapping</a:t>
            </a:r>
          </a:p>
          <a:p>
            <a:pPr algn="ctr"/>
            <a:endParaRPr lang="en-US">
              <a:solidFill>
                <a:schemeClr val="tx1"/>
              </a:solidFill>
              <a:cs typeface="Arial"/>
            </a:endParaRPr>
          </a:p>
          <a:p>
            <a:pPr algn="ctr"/>
            <a:endParaRPr lang="en-US">
              <a:solidFill>
                <a:schemeClr val="tx1"/>
              </a:solidFill>
              <a:cs typeface="Arial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4C31C1F6-8451-4DE1-A735-F2A31C1FF247}"/>
              </a:ext>
            </a:extLst>
          </p:cNvPr>
          <p:cNvSpPr/>
          <p:nvPr/>
        </p:nvSpPr>
        <p:spPr>
          <a:xfrm>
            <a:off x="9210675" y="2252888"/>
            <a:ext cx="2202540" cy="578756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cs typeface="Arial"/>
            </a:endParaRPr>
          </a:p>
          <a:p>
            <a:pPr algn="ctr"/>
            <a:endParaRPr lang="en-US">
              <a:solidFill>
                <a:schemeClr val="tx1"/>
              </a:solidFill>
              <a:cs typeface="Arial"/>
            </a:endParaRPr>
          </a:p>
          <a:p>
            <a:pPr algn="ctr"/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Tracking</a:t>
            </a:r>
          </a:p>
          <a:p>
            <a:pPr algn="ctr"/>
            <a:endParaRPr lang="en-US">
              <a:solidFill>
                <a:schemeClr val="tx1"/>
              </a:solidFill>
              <a:cs typeface="Arial"/>
            </a:endParaRPr>
          </a:p>
          <a:p>
            <a:pPr algn="ctr"/>
            <a:endParaRPr lang="en-US">
              <a:solidFill>
                <a:schemeClr val="tx1"/>
              </a:solidFill>
              <a:cs typeface="Arial"/>
            </a:endParaRPr>
          </a:p>
        </p:txBody>
      </p:sp>
      <p:pic>
        <p:nvPicPr>
          <p:cNvPr id="7" name="Picture 7" descr="A screenshot of a cell phone&#10;&#10;Description automatically generated">
            <a:extLst>
              <a:ext uri="{FF2B5EF4-FFF2-40B4-BE49-F238E27FC236}">
                <a16:creationId xmlns:a16="http://schemas.microsoft.com/office/drawing/2014/main" id="{F5CBBDEF-7DB7-4E78-8CAA-07C85D3420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94757" y="5264059"/>
            <a:ext cx="3505199" cy="1028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58501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6CB90D20-4DD6-4569-AF1F-42866BC364E8}"/>
              </a:ext>
            </a:extLst>
          </p:cNvPr>
          <p:cNvGrpSpPr/>
          <p:nvPr/>
        </p:nvGrpSpPr>
        <p:grpSpPr>
          <a:xfrm>
            <a:off x="292090" y="1490862"/>
            <a:ext cx="11182914" cy="4484636"/>
            <a:chOff x="158750" y="1569720"/>
            <a:chExt cx="8458200" cy="3514725"/>
          </a:xfrm>
        </p:grpSpPr>
        <p:pic>
          <p:nvPicPr>
            <p:cNvPr id="10" name="Picture 9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9913487B-7D76-400B-96B7-04402C92B44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750" y="1569720"/>
              <a:ext cx="8458200" cy="3514725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E8994F2-493F-4530-AC4D-F9214182321A}"/>
                </a:ext>
              </a:extLst>
            </p:cNvPr>
            <p:cNvSpPr/>
            <p:nvPr/>
          </p:nvSpPr>
          <p:spPr>
            <a:xfrm>
              <a:off x="4138871" y="2583712"/>
              <a:ext cx="4136065" cy="2041451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173A0F1-9D57-4F7D-B629-272D38B6C4DA}"/>
                </a:ext>
              </a:extLst>
            </p:cNvPr>
            <p:cNvSpPr txBox="1"/>
            <p:nvPr/>
          </p:nvSpPr>
          <p:spPr>
            <a:xfrm>
              <a:off x="5794744" y="4646428"/>
              <a:ext cx="805598" cy="168849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400">
                  <a:solidFill>
                    <a:schemeClr val="bg1"/>
                  </a:solidFill>
                </a:rPr>
                <a:t>VINS-MONO</a:t>
              </a:r>
            </a:p>
          </p:txBody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035" y="397918"/>
            <a:ext cx="11420253" cy="588278"/>
          </a:xfrm>
        </p:spPr>
        <p:txBody>
          <a:bodyPr/>
          <a:lstStyle/>
          <a:p>
            <a:r>
              <a:rPr lang="en-US"/>
              <a:t>Working Pipelin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86412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035" y="397918"/>
            <a:ext cx="11420253" cy="588278"/>
          </a:xfrm>
        </p:spPr>
        <p:txBody>
          <a:bodyPr/>
          <a:lstStyle/>
          <a:p>
            <a:r>
              <a:rPr lang="en-US"/>
              <a:t>LAST week RESULTS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 descr="A screen shot of a computer&#10;&#10;Description automatically generated">
            <a:extLst>
              <a:ext uri="{FF2B5EF4-FFF2-40B4-BE49-F238E27FC236}">
                <a16:creationId xmlns:a16="http://schemas.microsoft.com/office/drawing/2014/main" id="{AB925864-3BE6-49D0-9264-13713D0EBBC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4035" y="986196"/>
            <a:ext cx="5964865" cy="512055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DFFB785-9499-462E-8482-F0F9DF4D8A39}"/>
              </a:ext>
            </a:extLst>
          </p:cNvPr>
          <p:cNvSpPr txBox="1"/>
          <p:nvPr/>
        </p:nvSpPr>
        <p:spPr>
          <a:xfrm>
            <a:off x="6677246" y="986196"/>
            <a:ext cx="5217041" cy="55399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/>
              <a:t> Red </a:t>
            </a:r>
            <a:r>
              <a:rPr lang="en-US"/>
              <a:t>= Pose graph path (global odometry)</a:t>
            </a:r>
          </a:p>
          <a:p>
            <a:pPr algn="l"/>
            <a:r>
              <a:rPr lang="en-US" b="1"/>
              <a:t> Green </a:t>
            </a:r>
            <a:r>
              <a:rPr lang="en-US"/>
              <a:t>= VIO path (local odometry)</a:t>
            </a:r>
            <a:endParaRPr lang="en-US" b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0D2DDE-A9D6-416A-AE3F-F3FC202999CC}"/>
              </a:ext>
            </a:extLst>
          </p:cNvPr>
          <p:cNvSpPr txBox="1"/>
          <p:nvPr/>
        </p:nvSpPr>
        <p:spPr>
          <a:xfrm>
            <a:off x="6677247" y="2182505"/>
            <a:ext cx="5217041" cy="2492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Ground truth not published</a:t>
            </a:r>
            <a:br>
              <a:rPr lang="en-US"/>
            </a:br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Camera calibration from </a:t>
            </a:r>
            <a:r>
              <a:rPr lang="en-US" err="1"/>
              <a:t>euroc</a:t>
            </a:r>
            <a:r>
              <a:rPr lang="en-US"/>
              <a:t> dataset</a:t>
            </a:r>
            <a:br>
              <a:rPr lang="en-US"/>
            </a:br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Crashes frequently</a:t>
            </a:r>
            <a:br>
              <a:rPr lang="en-US"/>
            </a:br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Wrong Scales (312 vs 32)</a:t>
            </a:r>
            <a:br>
              <a:rPr lang="en-US"/>
            </a:br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Odometry does not have given geometry</a:t>
            </a:r>
          </a:p>
        </p:txBody>
      </p:sp>
    </p:spTree>
    <p:extLst>
      <p:ext uri="{BB962C8B-B14F-4D97-AF65-F5344CB8AC3E}">
        <p14:creationId xmlns:p14="http://schemas.microsoft.com/office/powerpoint/2010/main" val="364641860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035" y="397918"/>
            <a:ext cx="3215463" cy="588278"/>
          </a:xfrm>
        </p:spPr>
        <p:txBody>
          <a:bodyPr/>
          <a:lstStyle/>
          <a:p>
            <a:r>
              <a:rPr lang="en-US"/>
              <a:t>Calibration Matrix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CDDDEA8-D611-4984-A5F3-D429C00B02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59963" y="158750"/>
            <a:ext cx="7934325" cy="673417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58D2C8C-3109-4B44-87F7-433CAA7167CE}"/>
              </a:ext>
            </a:extLst>
          </p:cNvPr>
          <p:cNvSpPr/>
          <p:nvPr/>
        </p:nvSpPr>
        <p:spPr>
          <a:xfrm>
            <a:off x="4922874" y="1286540"/>
            <a:ext cx="6390168" cy="23761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11E1C5-5F80-47DB-90F7-73B395199CF5}"/>
              </a:ext>
            </a:extLst>
          </p:cNvPr>
          <p:cNvSpPr/>
          <p:nvPr/>
        </p:nvSpPr>
        <p:spPr>
          <a:xfrm>
            <a:off x="4732041" y="1828957"/>
            <a:ext cx="5049912" cy="6377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FE9E951-7ECE-4F62-8837-34A0375987EB}"/>
              </a:ext>
            </a:extLst>
          </p:cNvPr>
          <p:cNvSpPr/>
          <p:nvPr/>
        </p:nvSpPr>
        <p:spPr>
          <a:xfrm>
            <a:off x="4732041" y="3683262"/>
            <a:ext cx="2296080" cy="6377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DEE332C-179E-447C-9DAB-C7EE56D07FF6}"/>
              </a:ext>
            </a:extLst>
          </p:cNvPr>
          <p:cNvSpPr/>
          <p:nvPr/>
        </p:nvSpPr>
        <p:spPr>
          <a:xfrm>
            <a:off x="4732040" y="5706992"/>
            <a:ext cx="4837261" cy="115100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97DB56-7FED-475D-AF21-4D89DEAE7671}"/>
              </a:ext>
            </a:extLst>
          </p:cNvPr>
          <p:cNvSpPr txBox="1"/>
          <p:nvPr/>
        </p:nvSpPr>
        <p:spPr>
          <a:xfrm>
            <a:off x="329609" y="1956391"/>
            <a:ext cx="3359889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/>
              <a:t>Previous approach</a:t>
            </a:r>
            <a:r>
              <a:rPr lang="en-US"/>
              <a:t>:</a:t>
            </a:r>
          </a:p>
          <a:p>
            <a:pPr algn="l"/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Unstable initialization</a:t>
            </a:r>
            <a:br>
              <a:rPr lang="en-US"/>
            </a:br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Deviation from co-ordinate axis in terms of translation</a:t>
            </a:r>
            <a:br>
              <a:rPr lang="en-US"/>
            </a:br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18756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755" y="6522694"/>
            <a:ext cx="496945" cy="23761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7AD9034-7C26-464B-99FC-B2431183AB80}"/>
              </a:ext>
            </a:extLst>
          </p:cNvPr>
          <p:cNvGrpSpPr/>
          <p:nvPr/>
        </p:nvGrpSpPr>
        <p:grpSpPr>
          <a:xfrm>
            <a:off x="3990088" y="2143476"/>
            <a:ext cx="4211822" cy="4392956"/>
            <a:chOff x="754912" y="1152525"/>
            <a:chExt cx="4211822" cy="4392956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FD77A6F0-7A3F-4853-A733-F1669B4EC7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8639" b="3514"/>
            <a:stretch/>
          </p:blipFill>
          <p:spPr>
            <a:xfrm>
              <a:off x="754912" y="1152525"/>
              <a:ext cx="4211822" cy="4392956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1982F89-CE07-449C-81E4-FDB75A08EF1A}"/>
                </a:ext>
              </a:extLst>
            </p:cNvPr>
            <p:cNvSpPr/>
            <p:nvPr/>
          </p:nvSpPr>
          <p:spPr>
            <a:xfrm>
              <a:off x="2424223" y="2339163"/>
              <a:ext cx="372140" cy="191386"/>
            </a:xfrm>
            <a:prstGeom prst="rect">
              <a:avLst/>
            </a:prstGeom>
            <a:noFill/>
            <a:ln>
              <a:solidFill>
                <a:srgbClr val="DC20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4DB449E-E409-437A-B8AC-1D9B0578D444}"/>
                </a:ext>
              </a:extLst>
            </p:cNvPr>
            <p:cNvSpPr/>
            <p:nvPr/>
          </p:nvSpPr>
          <p:spPr>
            <a:xfrm>
              <a:off x="2491561" y="2523462"/>
              <a:ext cx="372140" cy="191386"/>
            </a:xfrm>
            <a:prstGeom prst="rect">
              <a:avLst/>
            </a:prstGeom>
            <a:noFill/>
            <a:ln>
              <a:solidFill>
                <a:srgbClr val="DC20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39B59B3-3954-475A-B09C-9F05CC7C5D89}"/>
                </a:ext>
              </a:extLst>
            </p:cNvPr>
            <p:cNvSpPr/>
            <p:nvPr/>
          </p:nvSpPr>
          <p:spPr>
            <a:xfrm>
              <a:off x="2877881" y="2750291"/>
              <a:ext cx="372140" cy="191386"/>
            </a:xfrm>
            <a:prstGeom prst="rect">
              <a:avLst/>
            </a:prstGeom>
            <a:noFill/>
            <a:ln>
              <a:solidFill>
                <a:srgbClr val="DC20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F10DD21-ADF5-4C77-98F8-C9F1FB16C736}"/>
                </a:ext>
              </a:extLst>
            </p:cNvPr>
            <p:cNvSpPr/>
            <p:nvPr/>
          </p:nvSpPr>
          <p:spPr>
            <a:xfrm>
              <a:off x="1265275" y="4072278"/>
              <a:ext cx="2775098" cy="445899"/>
            </a:xfrm>
            <a:prstGeom prst="rect">
              <a:avLst/>
            </a:prstGeom>
            <a:noFill/>
            <a:ln>
              <a:solidFill>
                <a:srgbClr val="DC20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D9AF437-9A15-4C4F-9AD9-947D15DA9A90}"/>
              </a:ext>
            </a:extLst>
          </p:cNvPr>
          <p:cNvSpPr txBox="1"/>
          <p:nvPr/>
        </p:nvSpPr>
        <p:spPr>
          <a:xfrm>
            <a:off x="4969169" y="555579"/>
            <a:ext cx="646548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/>
              <a:t>Rechecked using camera info API,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Camera co-ordinates are 0.5,0,0 </a:t>
            </a:r>
            <a:r>
              <a:rPr lang="en-US" err="1"/>
              <a:t>wrt</a:t>
            </a:r>
            <a:r>
              <a:rPr lang="en-US"/>
              <a:t> the bod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Camera orientation is also 0,0,0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No information regarding IMU location and orientation given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F39F69C-A4CB-4C68-89A5-C6F065E6A9A8}"/>
              </a:ext>
            </a:extLst>
          </p:cNvPr>
          <p:cNvGrpSpPr/>
          <p:nvPr/>
        </p:nvGrpSpPr>
        <p:grpSpPr>
          <a:xfrm>
            <a:off x="8288965" y="2212301"/>
            <a:ext cx="3715193" cy="4267863"/>
            <a:chOff x="5949359" y="2212301"/>
            <a:chExt cx="3715193" cy="4267863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02F6AA0-94FB-43B7-933A-57EEA98A1F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876" t="37628" r="25251" b="-1094"/>
            <a:stretch/>
          </p:blipFill>
          <p:spPr>
            <a:xfrm>
              <a:off x="5949359" y="2212301"/>
              <a:ext cx="3715193" cy="4267863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497C632-EA77-41E1-A38E-861515B43901}"/>
                </a:ext>
              </a:extLst>
            </p:cNvPr>
            <p:cNvSpPr/>
            <p:nvPr/>
          </p:nvSpPr>
          <p:spPr>
            <a:xfrm>
              <a:off x="6319285" y="4224678"/>
              <a:ext cx="1357422" cy="559973"/>
            </a:xfrm>
            <a:prstGeom prst="rect">
              <a:avLst/>
            </a:prstGeom>
            <a:noFill/>
            <a:ln>
              <a:solidFill>
                <a:srgbClr val="DC20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9FEB049-7686-4BF1-971F-EB1513966E01}"/>
                </a:ext>
              </a:extLst>
            </p:cNvPr>
            <p:cNvSpPr/>
            <p:nvPr/>
          </p:nvSpPr>
          <p:spPr>
            <a:xfrm>
              <a:off x="6319285" y="5906023"/>
              <a:ext cx="1357422" cy="271494"/>
            </a:xfrm>
            <a:prstGeom prst="rect">
              <a:avLst/>
            </a:prstGeom>
            <a:noFill/>
            <a:ln>
              <a:solidFill>
                <a:srgbClr val="DC20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</p:grpSp>
      <p:sp>
        <p:nvSpPr>
          <p:cNvPr id="26" name="Title 1">
            <a:extLst>
              <a:ext uri="{FF2B5EF4-FFF2-40B4-BE49-F238E27FC236}">
                <a16:creationId xmlns:a16="http://schemas.microsoft.com/office/drawing/2014/main" id="{007B8DCB-B72B-4611-B23D-12B5DBCAB3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035" y="397918"/>
            <a:ext cx="3215463" cy="588278"/>
          </a:xfrm>
        </p:spPr>
        <p:txBody>
          <a:bodyPr/>
          <a:lstStyle/>
          <a:p>
            <a:r>
              <a:rPr lang="en-US"/>
              <a:t>Calibration Matrix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3A69D9D-134A-4FCA-8495-0AB3B2F58E91}"/>
              </a:ext>
            </a:extLst>
          </p:cNvPr>
          <p:cNvSpPr txBox="1"/>
          <p:nvPr/>
        </p:nvSpPr>
        <p:spPr>
          <a:xfrm>
            <a:off x="329609" y="1956391"/>
            <a:ext cx="3359889" cy="2492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/>
              <a:t>Current approach</a:t>
            </a:r>
            <a:r>
              <a:rPr lang="en-US"/>
              <a:t>:</a:t>
            </a:r>
          </a:p>
          <a:p>
            <a:pPr algn="l"/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Much stable initialization</a:t>
            </a:r>
            <a:br>
              <a:rPr lang="en-US"/>
            </a:br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Co-ordinate shift still and changing translation matrix does not help</a:t>
            </a:r>
            <a:br>
              <a:rPr lang="en-US"/>
            </a:br>
            <a:endParaRPr lang="en-US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2287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6A843A-2282-4F8C-A8D7-81CB47B5C0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6A843A-2282-4F8C-A8D7-81CB47B5C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EDEAA3-565A-4C12-A75E-214A28B6E1D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3684E5A-F00A-4250-BA27-4DA2B7AD0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aph based slam                      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114182-7763-4201-AE69-E7F4CF692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4</a:t>
            </a:fld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8224156" y="1128486"/>
            <a:ext cx="3613966" cy="419100"/>
          </a:xfrm>
          <a:prstGeom prst="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Benefits</a:t>
            </a:r>
            <a:endParaRPr lang="en-US" sz="2000">
              <a:solidFill>
                <a:schemeClr val="bg1"/>
              </a:solidFill>
              <a:ea typeface="+mn-lt"/>
              <a:cs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8224156" y="1556657"/>
            <a:ext cx="3613966" cy="45339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Arial,Sans-Serif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Metric scale with observable roll and pitch angles.</a:t>
            </a:r>
          </a:p>
          <a:p>
            <a:pPr marL="342900" indent="-342900">
              <a:buFont typeface="Arial,Sans-Serif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Integration of IMU measurements.</a:t>
            </a:r>
          </a:p>
          <a:p>
            <a:pPr marL="342900" indent="-342900">
              <a:buFont typeface="Arial,Sans-Serif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Minimum sensor setup VINS estimators </a:t>
            </a:r>
          </a:p>
          <a:p>
            <a:pPr marL="342900" indent="-342900">
              <a:buFont typeface="Arial,Sans-Serif" panose="020B0604020202020204" pitchFamily="34" charset="0"/>
              <a:buChar char="•"/>
            </a:pPr>
            <a:endParaRPr lang="en-US">
              <a:solidFill>
                <a:schemeClr val="tx1"/>
              </a:solidFill>
              <a:ea typeface="+mn-lt"/>
              <a:cs typeface="+mn-lt"/>
            </a:endParaRPr>
          </a:p>
          <a:p>
            <a:pPr marL="342900" indent="-342900">
              <a:buFont typeface="Arial,Sans-Serif" panose="020B0604020202020204" pitchFamily="34" charset="0"/>
              <a:buChar char="•"/>
            </a:pPr>
            <a:endParaRPr lang="en-US" sz="2000">
              <a:solidFill>
                <a:schemeClr val="tx1"/>
              </a:solidFill>
              <a:ea typeface="+mn-lt"/>
              <a:cs typeface="+mn-lt"/>
            </a:endParaRP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cannot start from a stationary state </a:t>
            </a:r>
          </a:p>
          <a:p>
            <a:pPr marL="342900" indent="-342900">
              <a:buFont typeface="Arial,Sans-Serif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Nonlinear</a:t>
            </a:r>
          </a:p>
          <a:p>
            <a:pPr marL="342900" indent="-342900">
              <a:buFont typeface="Arial,Sans-Serif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Calibration </a:t>
            </a:r>
          </a:p>
          <a:p>
            <a:pPr marL="342900" indent="-342900">
              <a:buFont typeface="Arial,Sans-Serif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Results long term drifts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8226016" y="3387272"/>
            <a:ext cx="3613966" cy="419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j-lt"/>
              </a:rPr>
              <a:t>Challenges</a:t>
            </a:r>
            <a:endParaRPr lang="en-US" sz="2000">
              <a:ea typeface="+mn-lt"/>
              <a:cs typeface="+mn-lt"/>
            </a:endParaRPr>
          </a:p>
        </p:txBody>
      </p:sp>
      <p:pic>
        <p:nvPicPr>
          <p:cNvPr id="5" name="Picture 5" descr="A close up of a map&#10;&#10;Description automatically generated">
            <a:extLst>
              <a:ext uri="{FF2B5EF4-FFF2-40B4-BE49-F238E27FC236}">
                <a16:creationId xmlns:a16="http://schemas.microsoft.com/office/drawing/2014/main" id="{F0059BAD-C061-4C1B-968A-797FA24CED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2543" y="1220985"/>
            <a:ext cx="3178627" cy="232960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F213431-3595-4067-9395-6FF883C79B00}"/>
              </a:ext>
            </a:extLst>
          </p:cNvPr>
          <p:cNvSpPr txBox="1"/>
          <p:nvPr/>
        </p:nvSpPr>
        <p:spPr>
          <a:xfrm>
            <a:off x="361043" y="3817257"/>
            <a:ext cx="7705266" cy="30777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/>
              <a:t>Graph-based SLAM the problem is decoupled in two tasks:</a:t>
            </a:r>
            <a:endParaRPr lang="en-US" sz="2000" dirty="0">
              <a:cs typeface="Arial"/>
            </a:endParaRPr>
          </a:p>
          <a:p>
            <a:endParaRPr lang="en-US" sz="2000" dirty="0">
              <a:ea typeface="+mn-lt"/>
              <a:cs typeface="+mn-lt"/>
            </a:endParaRPr>
          </a:p>
          <a:p>
            <a:pPr marL="342900" indent="-342900">
              <a:buAutoNum type="arabicPeriod"/>
            </a:pPr>
            <a:r>
              <a:rPr lang="en-US" sz="2000" dirty="0">
                <a:ea typeface="+mn-lt"/>
                <a:cs typeface="+mn-lt"/>
              </a:rPr>
              <a:t>Graph construction </a:t>
            </a:r>
          </a:p>
          <a:p>
            <a:pPr marL="342900" indent="-342900">
              <a:buFont typeface="Arial"/>
              <a:buChar char="•"/>
            </a:pPr>
            <a:r>
              <a:rPr lang="en-US" sz="2000" dirty="0">
                <a:ea typeface="+mn-lt"/>
                <a:cs typeface="+mn-lt"/>
              </a:rPr>
              <a:t>     probability distribution over the robot poses and detected features  </a:t>
            </a:r>
          </a:p>
          <a:p>
            <a:pPr marL="342900" indent="-342900">
              <a:buFont typeface="Arial"/>
              <a:buChar char="•"/>
            </a:pPr>
            <a:r>
              <a:rPr lang="en-US" sz="2000" dirty="0">
                <a:ea typeface="+mn-lt"/>
                <a:cs typeface="+mn-lt"/>
              </a:rPr>
              <a:t>     Factor graph                   </a:t>
            </a:r>
            <a:endParaRPr lang="en-US" dirty="0">
              <a:cs typeface="Arial"/>
            </a:endParaRPr>
          </a:p>
          <a:p>
            <a:r>
              <a:rPr lang="en-US" sz="2000" dirty="0">
                <a:ea typeface="+mn-lt"/>
                <a:cs typeface="+mn-lt"/>
              </a:rPr>
              <a:t>                  </a:t>
            </a:r>
            <a:endParaRPr lang="en-US" sz="2000" dirty="0">
              <a:cs typeface="Arial"/>
            </a:endParaRPr>
          </a:p>
          <a:p>
            <a:r>
              <a:rPr lang="en-US" sz="2000" dirty="0">
                <a:ea typeface="+mn-lt"/>
                <a:cs typeface="+mn-lt"/>
              </a:rPr>
              <a:t>2. Graph optimization</a:t>
            </a:r>
          </a:p>
          <a:p>
            <a:r>
              <a:rPr lang="en-US" sz="2000" dirty="0">
                <a:ea typeface="+mn-lt"/>
                <a:cs typeface="+mn-lt"/>
              </a:rPr>
              <a:t>     Maximum posterior optimization using Gaussian approximation</a:t>
            </a:r>
          </a:p>
          <a:p>
            <a:endParaRPr lang="en-US" sz="2000" dirty="0">
              <a:cs typeface="Arial"/>
            </a:endParaRPr>
          </a:p>
        </p:txBody>
      </p:sp>
      <p:pic>
        <p:nvPicPr>
          <p:cNvPr id="7" name="Picture 7" descr="A map of a kite flying in the sky&#10;&#10;Description automatically generated">
            <a:extLst>
              <a:ext uri="{FF2B5EF4-FFF2-40B4-BE49-F238E27FC236}">
                <a16:creationId xmlns:a16="http://schemas.microsoft.com/office/drawing/2014/main" id="{07893D45-3952-4B51-9345-7F2CFCD8EE4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23757" y="1202844"/>
            <a:ext cx="2743200" cy="236588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FE0F252D-9C36-453B-A37B-EE84EBC34875}"/>
              </a:ext>
            </a:extLst>
          </p:cNvPr>
          <p:cNvCxnSpPr/>
          <p:nvPr/>
        </p:nvCxnSpPr>
        <p:spPr>
          <a:xfrm flipV="1">
            <a:off x="4151086" y="2316842"/>
            <a:ext cx="841827" cy="1088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38414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A26CBE-0959-45B6-97D3-053D2DA60C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DA26CBE-0959-45B6-97D3-053D2DA60C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83750C-EABF-49B8-9EFF-ECC7CE02C7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4C0678-D4FE-47BC-AE4C-EBE4D8270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5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6A5CBB0-717E-41C8-8EAB-6BD14D316FEC}"/>
              </a:ext>
            </a:extLst>
          </p:cNvPr>
          <p:cNvSpPr txBox="1">
            <a:spLocks/>
          </p:cNvSpPr>
          <p:nvPr/>
        </p:nvSpPr>
        <p:spPr>
          <a:xfrm>
            <a:off x="-123826" y="187522"/>
            <a:ext cx="11201401" cy="61555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>
                <a:solidFill>
                  <a:schemeClr val="accent1"/>
                </a:solidFill>
              </a:rPr>
              <a:t>VINS-Mono: Introduction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72549B3-844E-4CDE-98BE-A53B406FCB58}"/>
              </a:ext>
            </a:extLst>
          </p:cNvPr>
          <p:cNvSpPr txBox="1">
            <a:spLocks/>
          </p:cNvSpPr>
          <p:nvPr/>
        </p:nvSpPr>
        <p:spPr>
          <a:xfrm>
            <a:off x="495300" y="948871"/>
            <a:ext cx="7026727" cy="4851853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0225" indent="-2460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>
                  <a:lumMod val="2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747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C5C5C"/>
              </a:buClr>
              <a:buFont typeface="Arial" panose="020B0604020202020204" pitchFamily="34" charset="0"/>
              <a:buChar char="‒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har char="•"/>
            </a:pPr>
            <a:r>
              <a:rPr lang="en-US" sz="1800"/>
              <a:t>Tightly-coupled  - </a:t>
            </a:r>
            <a:r>
              <a:rPr lang="en-US" sz="1800" b="0"/>
              <a:t> both visual features and IMU contribute equally to error optimization </a:t>
            </a:r>
            <a:endParaRPr lang="en-US" sz="1800" b="0">
              <a:cs typeface="Arial"/>
            </a:endParaRPr>
          </a:p>
          <a:p>
            <a:pPr marL="285750" indent="-285750">
              <a:buChar char="•"/>
            </a:pPr>
            <a:endParaRPr lang="en-US" sz="2000" b="0">
              <a:cs typeface="Arial"/>
            </a:endParaRPr>
          </a:p>
        </p:txBody>
      </p:sp>
      <p:sp>
        <p:nvSpPr>
          <p:cNvPr id="12" name="Slide Number Placeholder 7">
            <a:extLst>
              <a:ext uri="{FF2B5EF4-FFF2-40B4-BE49-F238E27FC236}">
                <a16:creationId xmlns:a16="http://schemas.microsoft.com/office/drawing/2014/main" id="{78D318C0-CE47-4520-9A11-8A0DB0557878}"/>
              </a:ext>
            </a:extLst>
          </p:cNvPr>
          <p:cNvSpPr txBox="1">
            <a:spLocks/>
          </p:cNvSpPr>
          <p:nvPr/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B94EC18-1D2B-4535-B738-0E53AFE26620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6" name="Picture 7" descr="A screenshot of a cell phone&#10;&#10;Description automatically generated">
            <a:extLst>
              <a:ext uri="{FF2B5EF4-FFF2-40B4-BE49-F238E27FC236}">
                <a16:creationId xmlns:a16="http://schemas.microsoft.com/office/drawing/2014/main" id="{12D8B213-7B0E-42AA-B624-C016441FEB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72615" y="910473"/>
            <a:ext cx="3487057" cy="2161410"/>
          </a:xfrm>
          <a:prstGeom prst="rect">
            <a:avLst/>
          </a:prstGeom>
        </p:spPr>
      </p:pic>
      <p:pic>
        <p:nvPicPr>
          <p:cNvPr id="8" name="Picture 10" descr="A screen shot of a computer&#10;&#10;Description automatically generated">
            <a:extLst>
              <a:ext uri="{FF2B5EF4-FFF2-40B4-BE49-F238E27FC236}">
                <a16:creationId xmlns:a16="http://schemas.microsoft.com/office/drawing/2014/main" id="{6365258B-F260-4991-B26E-97E23E47EE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4615" y="1907613"/>
            <a:ext cx="2743200" cy="232613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A6A2497-D06D-43AD-AC3D-8001F53739AD}"/>
              </a:ext>
            </a:extLst>
          </p:cNvPr>
          <p:cNvSpPr txBox="1"/>
          <p:nvPr/>
        </p:nvSpPr>
        <p:spPr>
          <a:xfrm>
            <a:off x="5767615" y="3563256"/>
            <a:ext cx="6716485" cy="221599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buChar char="•"/>
            </a:pPr>
            <a:endParaRPr lang="en-US" b="1">
              <a:cs typeface="Arial"/>
            </a:endParaRPr>
          </a:p>
          <a:p>
            <a:pPr>
              <a:buChar char="•"/>
            </a:pPr>
            <a:r>
              <a:rPr lang="en-US" b="1">
                <a:cs typeface="Arial"/>
              </a:rPr>
              <a:t>Non-linear:</a:t>
            </a:r>
            <a:r>
              <a:rPr lang="en-US">
                <a:cs typeface="Arial"/>
              </a:rPr>
              <a:t> The final optimization problem is of order 2</a:t>
            </a:r>
          </a:p>
          <a:p>
            <a:r>
              <a:rPr lang="en-US">
                <a:cs typeface="Arial"/>
              </a:rPr>
              <a:t> ​</a:t>
            </a:r>
          </a:p>
          <a:p>
            <a:pPr>
              <a:buChar char="•"/>
            </a:pPr>
            <a:r>
              <a:rPr lang="en-US" b="1">
                <a:cs typeface="Arial"/>
              </a:rPr>
              <a:t>Optimization based: </a:t>
            </a:r>
            <a:r>
              <a:rPr lang="en-US">
                <a:cs typeface="Arial"/>
              </a:rPr>
              <a:t>The estimated state prediction is done using </a:t>
            </a:r>
            <a:r>
              <a:rPr lang="en-US" b="1">
                <a:cs typeface="Arial"/>
              </a:rPr>
              <a:t>reiterations of previous data</a:t>
            </a:r>
            <a:r>
              <a:rPr lang="en-US">
                <a:cs typeface="Arial"/>
              </a:rPr>
              <a:t> to reach a  </a:t>
            </a:r>
            <a:r>
              <a:rPr lang="en-US" b="1">
                <a:cs typeface="Arial"/>
              </a:rPr>
              <a:t>minimum</a:t>
            </a:r>
          </a:p>
          <a:p>
            <a:r>
              <a:rPr lang="en-US" b="1">
                <a:cs typeface="Arial"/>
              </a:rPr>
              <a:t> possible error</a:t>
            </a:r>
            <a:r>
              <a:rPr lang="en-US">
                <a:cs typeface="Arial"/>
              </a:rPr>
              <a:t> and hence </a:t>
            </a:r>
            <a:r>
              <a:rPr lang="en-US" b="1">
                <a:cs typeface="Arial"/>
              </a:rPr>
              <a:t>optimizing </a:t>
            </a:r>
            <a:r>
              <a:rPr lang="en-US">
                <a:cs typeface="Arial"/>
              </a:rPr>
              <a:t>for it.​</a:t>
            </a:r>
          </a:p>
          <a:p>
            <a:r>
              <a:rPr lang="en-US">
                <a:cs typeface="Segoe UI"/>
              </a:rPr>
              <a:t>​</a:t>
            </a:r>
          </a:p>
          <a:p>
            <a:r>
              <a:rPr lang="en-US">
                <a:cs typeface="Segoe UI"/>
              </a:rPr>
              <a:t>​</a:t>
            </a:r>
          </a:p>
        </p:txBody>
      </p:sp>
      <p:pic>
        <p:nvPicPr>
          <p:cNvPr id="18" name="Picture 17" descr="A picture containing clip, stationary, light&#10;&#10;Description automatically generated">
            <a:extLst>
              <a:ext uri="{FF2B5EF4-FFF2-40B4-BE49-F238E27FC236}">
                <a16:creationId xmlns:a16="http://schemas.microsoft.com/office/drawing/2014/main" id="{F943224F-7C2F-412C-8BD2-08667B03F4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58707" y="1909738"/>
            <a:ext cx="2159921" cy="2338251"/>
          </a:xfrm>
          <a:prstGeom prst="rect">
            <a:avLst/>
          </a:prstGeom>
        </p:spPr>
      </p:pic>
      <p:pic>
        <p:nvPicPr>
          <p:cNvPr id="5" name="Picture 8" descr="A picture containing table, person, holding&#10;&#10;Description automatically generated">
            <a:extLst>
              <a:ext uri="{FF2B5EF4-FFF2-40B4-BE49-F238E27FC236}">
                <a16:creationId xmlns:a16="http://schemas.microsoft.com/office/drawing/2014/main" id="{F0D9C5E8-D88D-48FC-B571-F01C0E5668D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5329" y="4533427"/>
            <a:ext cx="3441699" cy="149228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3843691-4B37-4662-B0D0-C292B4CAC0FF}"/>
              </a:ext>
            </a:extLst>
          </p:cNvPr>
          <p:cNvSpPr txBox="1"/>
          <p:nvPr/>
        </p:nvSpPr>
        <p:spPr>
          <a:xfrm>
            <a:off x="977900" y="6103256"/>
            <a:ext cx="2743199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Optimized cost function</a:t>
            </a:r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8A1996-5DDB-4D8C-819D-508CA041E1E4}"/>
              </a:ext>
            </a:extLst>
          </p:cNvPr>
          <p:cNvSpPr txBox="1"/>
          <p:nvPr/>
        </p:nvSpPr>
        <p:spPr>
          <a:xfrm>
            <a:off x="5196114" y="5740400"/>
            <a:ext cx="7451271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Segoe UI"/>
              </a:rPr>
              <a:t>Infact, it has various modules which individually optimize their​</a:t>
            </a:r>
          </a:p>
          <a:p>
            <a:r>
              <a:rPr lang="en-US">
                <a:cs typeface="Segoe UI"/>
              </a:rPr>
              <a:t> own errors and thus, multiple optimizations are running parallelly. ​​</a:t>
            </a:r>
          </a:p>
        </p:txBody>
      </p:sp>
    </p:spTree>
    <p:extLst>
      <p:ext uri="{BB962C8B-B14F-4D97-AF65-F5344CB8AC3E}">
        <p14:creationId xmlns:p14="http://schemas.microsoft.com/office/powerpoint/2010/main" val="32685021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46D64B0A-36B9-4EAB-B165-3374A28353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131121" flipH="1">
            <a:off x="4050712" y="3567371"/>
            <a:ext cx="2574132" cy="2308325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4E18BE-06F0-4A0F-B959-AEE9394047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4E18BE-06F0-4A0F-B959-AEE939404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92975B-8437-403E-ADEF-FE4B22D844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540982"/>
            <a:ext cx="5372100" cy="2409226"/>
          </a:xfrm>
        </p:spPr>
        <p:txBody>
          <a:bodyPr/>
          <a:lstStyle/>
          <a:p>
            <a:pPr lvl="0"/>
            <a:r>
              <a:rPr lang="en-US" sz="2800"/>
              <a:t>Local odome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/>
              <a:t>What is happening local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/>
              <a:t>Optimizing for local odometry err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/>
              <a:t>Relation with previous few frames and using intermediate IMU data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1A94118-0CDC-4BFF-84BF-5F09FB36388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540982"/>
            <a:ext cx="5372100" cy="2738410"/>
          </a:xfrm>
        </p:spPr>
        <p:txBody>
          <a:bodyPr/>
          <a:lstStyle/>
          <a:p>
            <a:pPr lvl="0"/>
            <a:r>
              <a:rPr lang="en-US" sz="2800"/>
              <a:t>Global odome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/>
              <a:t>What is global pi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/>
              <a:t>Taking previously accumulated errors in accou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/>
              <a:t>Relation with frames acquired long time back and visiting same poin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6150980"/>
            <a:ext cx="12192000" cy="369332"/>
          </a:xfrm>
        </p:spPr>
        <p:txBody>
          <a:bodyPr/>
          <a:lstStyle/>
          <a:p>
            <a:r>
              <a:rPr lang="en-US" sz="2000"/>
              <a:t>As new frames arrive, we push older keyframes to pose graph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24FB3F8-47CF-4E17-9AD2-083C283D0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VINS-Mono: Introduc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EC514C0-877D-4881-9C2B-7E8C1FF03524}"/>
              </a:ext>
            </a:extLst>
          </p:cNvPr>
          <p:cNvSpPr txBox="1"/>
          <p:nvPr/>
        </p:nvSpPr>
        <p:spPr>
          <a:xfrm>
            <a:off x="495300" y="1110852"/>
            <a:ext cx="11201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/>
              <a:t>State of the art tightly coupled non-linear optimization based SLAM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693C8C9-68BC-43C9-9E03-5228302030D2}"/>
              </a:ext>
            </a:extLst>
          </p:cNvPr>
          <p:cNvSpPr txBox="1"/>
          <p:nvPr/>
        </p:nvSpPr>
        <p:spPr>
          <a:xfrm>
            <a:off x="7297100" y="4721533"/>
            <a:ext cx="2931160" cy="369332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b="1"/>
              <a:t>GLOBAL POSE GRAPH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0184A8C-9EE2-4499-A743-A15BFF37D3C0}"/>
              </a:ext>
            </a:extLst>
          </p:cNvPr>
          <p:cNvSpPr txBox="1"/>
          <p:nvPr/>
        </p:nvSpPr>
        <p:spPr>
          <a:xfrm>
            <a:off x="1383951" y="4704064"/>
            <a:ext cx="2178685" cy="369332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b="1"/>
              <a:t>SLIDING WINDOW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732CACE-F705-4884-831C-5136222A2AEE}"/>
              </a:ext>
            </a:extLst>
          </p:cNvPr>
          <p:cNvCxnSpPr>
            <a:stCxn id="17" idx="3"/>
          </p:cNvCxnSpPr>
          <p:nvPr/>
        </p:nvCxnSpPr>
        <p:spPr>
          <a:xfrm>
            <a:off x="3562636" y="4888730"/>
            <a:ext cx="625316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455140A-9662-4AF6-8646-AB054540B08A}"/>
              </a:ext>
            </a:extLst>
          </p:cNvPr>
          <p:cNvCxnSpPr>
            <a:cxnSpLocks/>
            <a:stCxn id="16" idx="1"/>
          </p:cNvCxnSpPr>
          <p:nvPr/>
        </p:nvCxnSpPr>
        <p:spPr>
          <a:xfrm flipH="1">
            <a:off x="6555801" y="4906199"/>
            <a:ext cx="7412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87952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B91C17-6A17-47FF-974F-E0E5B04C8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720" y="395834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Key modules and </a:t>
            </a:r>
            <a:r>
              <a:rPr lang="en-US" err="1">
                <a:solidFill>
                  <a:schemeClr val="accent1"/>
                </a:solidFill>
              </a:rPr>
              <a:t>PIpeline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C3B2F3E-F8A2-421B-A686-10F499C6389F}"/>
              </a:ext>
            </a:extLst>
          </p:cNvPr>
          <p:cNvSpPr txBox="1"/>
          <p:nvPr/>
        </p:nvSpPr>
        <p:spPr>
          <a:xfrm>
            <a:off x="680720" y="1477906"/>
            <a:ext cx="77012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/>
              <a:t>Extracts key features from images and pre-integrates IMU for further process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4CC0B51-1312-4839-888C-C3821230F8FD}"/>
              </a:ext>
            </a:extLst>
          </p:cNvPr>
          <p:cNvSpPr txBox="1"/>
          <p:nvPr/>
        </p:nvSpPr>
        <p:spPr>
          <a:xfrm>
            <a:off x="3574959" y="2292506"/>
            <a:ext cx="480704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/>
              <a:t>Prepares an initial estimate of scale and IMU bia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203F965-F671-41CF-BD78-7CF79EF24B58}"/>
              </a:ext>
            </a:extLst>
          </p:cNvPr>
          <p:cNvSpPr txBox="1"/>
          <p:nvPr/>
        </p:nvSpPr>
        <p:spPr>
          <a:xfrm>
            <a:off x="955045" y="3063798"/>
            <a:ext cx="742695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/>
              <a:t>Gets an estimate of approximate time delay between IMU and image captur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174C46C-4A20-4865-80E3-5AF51F261B23}"/>
              </a:ext>
            </a:extLst>
          </p:cNvPr>
          <p:cNvSpPr txBox="1"/>
          <p:nvPr/>
        </p:nvSpPr>
        <p:spPr>
          <a:xfrm>
            <a:off x="2306319" y="3776538"/>
            <a:ext cx="607568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/>
              <a:t>Extracts features from recent data to get local motion estimat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4EE9454-21FC-4005-8AA5-9FF58F38629B}"/>
              </a:ext>
            </a:extLst>
          </p:cNvPr>
          <p:cNvSpPr txBox="1"/>
          <p:nvPr/>
        </p:nvSpPr>
        <p:spPr>
          <a:xfrm>
            <a:off x="1442738" y="4649690"/>
            <a:ext cx="69392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/>
              <a:t>Aligns and makes connections of old local data to previous global path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E601359-3205-4B9B-82E5-14A26F06C4EF}"/>
              </a:ext>
            </a:extLst>
          </p:cNvPr>
          <p:cNvSpPr txBox="1"/>
          <p:nvPr/>
        </p:nvSpPr>
        <p:spPr>
          <a:xfrm>
            <a:off x="233680" y="5539646"/>
            <a:ext cx="81483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/>
              <a:t>Performs drift correction in local as well as global path when a location is re-visited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E15CEDE-CDFD-4EDB-9498-75A43B252F04}"/>
              </a:ext>
            </a:extLst>
          </p:cNvPr>
          <p:cNvGrpSpPr/>
          <p:nvPr/>
        </p:nvGrpSpPr>
        <p:grpSpPr>
          <a:xfrm>
            <a:off x="8530681" y="355599"/>
            <a:ext cx="3200398" cy="5662160"/>
            <a:chOff x="8530681" y="355599"/>
            <a:chExt cx="3200398" cy="5662160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94A7BB9D-19CE-4303-A940-5AE72ACB7FFB}"/>
                </a:ext>
              </a:extLst>
            </p:cNvPr>
            <p:cNvSpPr/>
            <p:nvPr/>
          </p:nvSpPr>
          <p:spPr>
            <a:xfrm>
              <a:off x="8530681" y="1340803"/>
              <a:ext cx="3200398" cy="520429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tx1"/>
                  </a:solidFill>
                </a:rPr>
                <a:t>Pre-process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C2512162-EDA2-430A-B80A-7A516E5766D1}"/>
                </a:ext>
              </a:extLst>
            </p:cNvPr>
            <p:cNvSpPr/>
            <p:nvPr/>
          </p:nvSpPr>
          <p:spPr>
            <a:xfrm>
              <a:off x="8530681" y="2134490"/>
              <a:ext cx="3200398" cy="520429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tx1"/>
                  </a:solidFill>
                </a:rPr>
                <a:t>Initialization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AD49E2F9-4C22-467B-8256-A60C78D059D4}"/>
                </a:ext>
              </a:extLst>
            </p:cNvPr>
            <p:cNvSpPr/>
            <p:nvPr/>
          </p:nvSpPr>
          <p:spPr>
            <a:xfrm>
              <a:off x="8530681" y="3720382"/>
              <a:ext cx="3200398" cy="520429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err="1">
                  <a:solidFill>
                    <a:schemeClr val="bg1"/>
                  </a:solidFill>
                </a:rPr>
                <a:t>Vins</a:t>
              </a:r>
              <a:r>
                <a:rPr lang="en-US" b="1">
                  <a:solidFill>
                    <a:schemeClr val="bg1"/>
                  </a:solidFill>
                </a:rPr>
                <a:t> Estimator</a:t>
              </a: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67100E99-C9DF-400B-9C20-7836ECAB1A79}"/>
                </a:ext>
              </a:extLst>
            </p:cNvPr>
            <p:cNvSpPr/>
            <p:nvPr/>
          </p:nvSpPr>
          <p:spPr>
            <a:xfrm>
              <a:off x="8530681" y="4514069"/>
              <a:ext cx="3200398" cy="520429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Pose Graph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BC4FB7A2-5437-49A3-9A2D-0BEA83E6295E}"/>
                </a:ext>
              </a:extLst>
            </p:cNvPr>
            <p:cNvSpPr/>
            <p:nvPr/>
          </p:nvSpPr>
          <p:spPr>
            <a:xfrm>
              <a:off x="8530681" y="5307756"/>
              <a:ext cx="3200398" cy="71000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err="1">
                  <a:solidFill>
                    <a:schemeClr val="tx1"/>
                  </a:solidFill>
                </a:rPr>
                <a:t>Relocalization</a:t>
              </a:r>
              <a:r>
                <a:rPr lang="en-US">
                  <a:solidFill>
                    <a:schemeClr val="tx1"/>
                  </a:solidFill>
                </a:rPr>
                <a:t> and </a:t>
              </a:r>
            </a:p>
            <a:p>
              <a:pPr algn="ctr"/>
              <a:r>
                <a:rPr lang="en-US">
                  <a:solidFill>
                    <a:schemeClr val="tx1"/>
                  </a:solidFill>
                </a:rPr>
                <a:t>Pose-graph optimization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DF1B3DD0-0D53-4D45-81A9-2EF58C40D8A1}"/>
                </a:ext>
              </a:extLst>
            </p:cNvPr>
            <p:cNvSpPr/>
            <p:nvPr/>
          </p:nvSpPr>
          <p:spPr>
            <a:xfrm>
              <a:off x="8530681" y="2926695"/>
              <a:ext cx="3200398" cy="520429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tx1"/>
                  </a:solidFill>
                </a:rPr>
                <a:t>Temporal calibration</a:t>
              </a: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AC60E58C-DAE5-4892-8A6E-C9F62C5858A9}"/>
                </a:ext>
              </a:extLst>
            </p:cNvPr>
            <p:cNvCxnSpPr>
              <a:stCxn id="18" idx="2"/>
              <a:endCxn id="13" idx="0"/>
            </p:cNvCxnSpPr>
            <p:nvPr/>
          </p:nvCxnSpPr>
          <p:spPr>
            <a:xfrm>
              <a:off x="10130880" y="1861232"/>
              <a:ext cx="0" cy="27325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B46CC674-D954-44FF-B397-5B9342DCE896}"/>
                </a:ext>
              </a:extLst>
            </p:cNvPr>
            <p:cNvCxnSpPr>
              <a:cxnSpLocks/>
              <a:stCxn id="13" idx="2"/>
              <a:endCxn id="19" idx="0"/>
            </p:cNvCxnSpPr>
            <p:nvPr/>
          </p:nvCxnSpPr>
          <p:spPr>
            <a:xfrm>
              <a:off x="10130880" y="2654919"/>
              <a:ext cx="0" cy="271776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C0ADE840-FB89-4EBC-A9F0-7FD023CFCAB1}"/>
                </a:ext>
              </a:extLst>
            </p:cNvPr>
            <p:cNvCxnSpPr>
              <a:cxnSpLocks/>
              <a:stCxn id="19" idx="2"/>
              <a:endCxn id="15" idx="0"/>
            </p:cNvCxnSpPr>
            <p:nvPr/>
          </p:nvCxnSpPr>
          <p:spPr>
            <a:xfrm>
              <a:off x="10130880" y="3447124"/>
              <a:ext cx="0" cy="27325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4F7DC622-3520-4A98-BC49-032AAC8A8662}"/>
                </a:ext>
              </a:extLst>
            </p:cNvPr>
            <p:cNvCxnSpPr>
              <a:cxnSpLocks/>
              <a:stCxn id="15" idx="2"/>
              <a:endCxn id="16" idx="0"/>
            </p:cNvCxnSpPr>
            <p:nvPr/>
          </p:nvCxnSpPr>
          <p:spPr>
            <a:xfrm>
              <a:off x="10130880" y="4240811"/>
              <a:ext cx="0" cy="27325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18748A17-2B36-4CCC-85E4-6A9D108C0BD7}"/>
                </a:ext>
              </a:extLst>
            </p:cNvPr>
            <p:cNvCxnSpPr>
              <a:cxnSpLocks/>
              <a:stCxn id="16" idx="2"/>
              <a:endCxn id="17" idx="0"/>
            </p:cNvCxnSpPr>
            <p:nvPr/>
          </p:nvCxnSpPr>
          <p:spPr>
            <a:xfrm>
              <a:off x="10130880" y="5034498"/>
              <a:ext cx="0" cy="27325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6152DC30-1F99-47FD-AEBC-7BEF54F7F1E2}"/>
                </a:ext>
              </a:extLst>
            </p:cNvPr>
            <p:cNvSpPr/>
            <p:nvPr/>
          </p:nvSpPr>
          <p:spPr>
            <a:xfrm>
              <a:off x="10284640" y="355599"/>
              <a:ext cx="1446439" cy="484641"/>
            </a:xfrm>
            <a:prstGeom prst="rect">
              <a:avLst/>
            </a:prstGeom>
            <a:noFill/>
            <a:ln w="28575">
              <a:solidFill>
                <a:srgbClr val="26889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>
                  <a:solidFill>
                    <a:schemeClr val="tx1"/>
                  </a:solidFill>
                </a:rPr>
                <a:t>IMU</a:t>
              </a:r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2D2CBA26-8464-493D-B9FA-048A767EFDB4}"/>
                </a:ext>
              </a:extLst>
            </p:cNvPr>
            <p:cNvCxnSpPr>
              <a:cxnSpLocks/>
              <a:endCxn id="18" idx="0"/>
            </p:cNvCxnSpPr>
            <p:nvPr/>
          </p:nvCxnSpPr>
          <p:spPr>
            <a:xfrm>
              <a:off x="9253901" y="840241"/>
              <a:ext cx="876979" cy="500562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AADAE293-0804-47B1-970A-D9F192692522}"/>
                </a:ext>
              </a:extLst>
            </p:cNvPr>
            <p:cNvCxnSpPr>
              <a:stCxn id="33" idx="2"/>
              <a:endCxn id="18" idx="0"/>
            </p:cNvCxnSpPr>
            <p:nvPr/>
          </p:nvCxnSpPr>
          <p:spPr>
            <a:xfrm flipH="1">
              <a:off x="10130880" y="840240"/>
              <a:ext cx="876980" cy="500563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068482D-8F16-4E42-A2FD-DECD793593D0}"/>
                </a:ext>
              </a:extLst>
            </p:cNvPr>
            <p:cNvSpPr/>
            <p:nvPr/>
          </p:nvSpPr>
          <p:spPr>
            <a:xfrm>
              <a:off x="8530681" y="355599"/>
              <a:ext cx="1446439" cy="484641"/>
            </a:xfrm>
            <a:prstGeom prst="rect">
              <a:avLst/>
            </a:prstGeom>
            <a:noFill/>
            <a:ln w="28575">
              <a:solidFill>
                <a:srgbClr val="26889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>
                  <a:solidFill>
                    <a:schemeClr val="tx1"/>
                  </a:solidFill>
                </a:rPr>
                <a:t>Imag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103521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943527" y="6481122"/>
            <a:ext cx="496945" cy="237617"/>
          </a:xfrm>
        </p:spPr>
        <p:txBody>
          <a:bodyPr/>
          <a:lstStyle/>
          <a:p>
            <a:fld id="{7B94EC18-1D2B-4535-B738-0E53AFE26620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B91C17-6A17-47FF-974F-E0E5B04C8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720" y="395834"/>
            <a:ext cx="11201401" cy="61555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Integration with </a:t>
            </a:r>
            <a:r>
              <a:rPr lang="en-US" err="1">
                <a:solidFill>
                  <a:schemeClr val="accent1"/>
                </a:solidFill>
              </a:rPr>
              <a:t>airsim</a:t>
            </a:r>
            <a:r>
              <a:rPr lang="en-US">
                <a:solidFill>
                  <a:schemeClr val="accent1"/>
                </a:solidFill>
              </a:rPr>
              <a:t> simulation</a:t>
            </a:r>
          </a:p>
        </p:txBody>
      </p:sp>
      <p:pic>
        <p:nvPicPr>
          <p:cNvPr id="88066" name="Picture 2" descr="AirSim: A Simulator to Help AI Research for Use in Drones ...">
            <a:extLst>
              <a:ext uri="{FF2B5EF4-FFF2-40B4-BE49-F238E27FC236}">
                <a16:creationId xmlns:a16="http://schemas.microsoft.com/office/drawing/2014/main" id="{516497AE-1961-48C5-924D-8178364218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712" y="1570742"/>
            <a:ext cx="2734136" cy="1551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782DF40-27F1-416B-91CB-3E06EDB313D3}"/>
              </a:ext>
            </a:extLst>
          </p:cNvPr>
          <p:cNvSpPr txBox="1"/>
          <p:nvPr/>
        </p:nvSpPr>
        <p:spPr>
          <a:xfrm>
            <a:off x="784860" y="1255406"/>
            <a:ext cx="2021840" cy="276999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err="1">
                <a:solidFill>
                  <a:schemeClr val="bg1"/>
                </a:solidFill>
              </a:rPr>
              <a:t>AirSim</a:t>
            </a:r>
            <a:r>
              <a:rPr lang="en-US" b="1">
                <a:solidFill>
                  <a:schemeClr val="bg1"/>
                </a:solidFill>
              </a:rPr>
              <a:t> Simulation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9CD083D-4E17-411C-9C21-A68E4400963C}"/>
              </a:ext>
            </a:extLst>
          </p:cNvPr>
          <p:cNvCxnSpPr>
            <a:cxnSpLocks/>
          </p:cNvCxnSpPr>
          <p:nvPr/>
        </p:nvCxnSpPr>
        <p:spPr>
          <a:xfrm flipV="1">
            <a:off x="3291691" y="1879600"/>
            <a:ext cx="5959085" cy="907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237BA46F-5EE8-4265-A392-EDFE9D9F5748}"/>
              </a:ext>
            </a:extLst>
          </p:cNvPr>
          <p:cNvSpPr txBox="1"/>
          <p:nvPr/>
        </p:nvSpPr>
        <p:spPr>
          <a:xfrm>
            <a:off x="5545247" y="1605815"/>
            <a:ext cx="1775755" cy="245594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>
                <a:solidFill>
                  <a:schemeClr val="bg1"/>
                </a:solidFill>
              </a:rPr>
              <a:t>Ground truth data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AE8422A-B8E9-4582-B032-143A0AFB2AB1}"/>
              </a:ext>
            </a:extLst>
          </p:cNvPr>
          <p:cNvSpPr txBox="1"/>
          <p:nvPr/>
        </p:nvSpPr>
        <p:spPr>
          <a:xfrm>
            <a:off x="9247447" y="1255405"/>
            <a:ext cx="2322659" cy="276999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>
                <a:solidFill>
                  <a:schemeClr val="bg1"/>
                </a:solidFill>
              </a:rPr>
              <a:t>VINS-Mono estimate</a:t>
            </a:r>
          </a:p>
        </p:txBody>
      </p:sp>
      <p:pic>
        <p:nvPicPr>
          <p:cNvPr id="38" name="Picture 37" descr="A close up of text on a black background&#10;&#10;Description automatically generated">
            <a:extLst>
              <a:ext uri="{FF2B5EF4-FFF2-40B4-BE49-F238E27FC236}">
                <a16:creationId xmlns:a16="http://schemas.microsoft.com/office/drawing/2014/main" id="{6F69A9E9-65AE-41D3-9230-088CEDC5A21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9" y="3833327"/>
            <a:ext cx="2667137" cy="2375022"/>
          </a:xfrm>
          <a:prstGeom prst="rect">
            <a:avLst/>
          </a:prstGeom>
        </p:spPr>
      </p:pic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DD7D664F-9ADC-4109-AC46-1972D5B7BDB6}"/>
              </a:ext>
            </a:extLst>
          </p:cNvPr>
          <p:cNvCxnSpPr>
            <a:cxnSpLocks/>
          </p:cNvCxnSpPr>
          <p:nvPr/>
        </p:nvCxnSpPr>
        <p:spPr>
          <a:xfrm>
            <a:off x="1795782" y="3122364"/>
            <a:ext cx="2789827" cy="613273"/>
          </a:xfrm>
          <a:prstGeom prst="bentConnector3">
            <a:avLst>
              <a:gd name="adj1" fmla="val -257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14B63C29-1F60-4CF5-9D98-C52670C38872}"/>
              </a:ext>
            </a:extLst>
          </p:cNvPr>
          <p:cNvCxnSpPr>
            <a:cxnSpLocks/>
          </p:cNvCxnSpPr>
          <p:nvPr/>
        </p:nvCxnSpPr>
        <p:spPr>
          <a:xfrm>
            <a:off x="1795779" y="3122366"/>
            <a:ext cx="2789830" cy="1562402"/>
          </a:xfrm>
          <a:prstGeom prst="bentConnector3">
            <a:avLst>
              <a:gd name="adj1" fmla="val -257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F1C31772-9FCA-4FBB-806B-E44F3AC0A2B7}"/>
              </a:ext>
            </a:extLst>
          </p:cNvPr>
          <p:cNvSpPr txBox="1"/>
          <p:nvPr/>
        </p:nvSpPr>
        <p:spPr>
          <a:xfrm>
            <a:off x="2972230" y="4365127"/>
            <a:ext cx="1295470" cy="246221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>
                <a:solidFill>
                  <a:schemeClr val="bg1"/>
                </a:solidFill>
              </a:rPr>
              <a:t>Camera f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3564714-E2AD-493D-9F03-DEA98AEDF9B3}"/>
              </a:ext>
            </a:extLst>
          </p:cNvPr>
          <p:cNvSpPr txBox="1"/>
          <p:nvPr/>
        </p:nvSpPr>
        <p:spPr>
          <a:xfrm>
            <a:off x="2674937" y="3435496"/>
            <a:ext cx="1592763" cy="246221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>
                <a:solidFill>
                  <a:schemeClr val="bg1"/>
                </a:solidFill>
              </a:rPr>
              <a:t>IMU with error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ABCBD75-85BA-4E07-ABB6-48B1B5005043}"/>
              </a:ext>
            </a:extLst>
          </p:cNvPr>
          <p:cNvSpPr txBox="1"/>
          <p:nvPr/>
        </p:nvSpPr>
        <p:spPr>
          <a:xfrm>
            <a:off x="2380722" y="5853558"/>
            <a:ext cx="542042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/>
              <a:t>Intrinsic and Extrinsic calibrated values between camera and IMU along with initial bias estimates</a:t>
            </a:r>
          </a:p>
        </p:txBody>
      </p: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0990CE2B-C3D6-4822-B56E-E9F5ED68DDB3}"/>
              </a:ext>
            </a:extLst>
          </p:cNvPr>
          <p:cNvCxnSpPr>
            <a:cxnSpLocks/>
          </p:cNvCxnSpPr>
          <p:nvPr/>
        </p:nvCxnSpPr>
        <p:spPr>
          <a:xfrm flipV="1">
            <a:off x="8036455" y="2331358"/>
            <a:ext cx="1210994" cy="483005"/>
          </a:xfrm>
          <a:prstGeom prst="bentConnector3">
            <a:avLst>
              <a:gd name="adj1" fmla="val 500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66696244-30A2-4BE0-8827-5B11C052B199}"/>
              </a:ext>
            </a:extLst>
          </p:cNvPr>
          <p:cNvSpPr txBox="1"/>
          <p:nvPr/>
        </p:nvSpPr>
        <p:spPr>
          <a:xfrm>
            <a:off x="6644420" y="2057066"/>
            <a:ext cx="2474656" cy="246221"/>
          </a:xfrm>
          <a:prstGeom prst="rect">
            <a:avLst/>
          </a:prstGeom>
          <a:solidFill>
            <a:srgbClr val="008A3E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>
                <a:solidFill>
                  <a:schemeClr val="bg1"/>
                </a:solidFill>
              </a:rPr>
              <a:t>Global Position Estimate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A04A6C2-683F-4081-A7C3-FC91C90D2239}"/>
              </a:ext>
            </a:extLst>
          </p:cNvPr>
          <p:cNvGrpSpPr/>
          <p:nvPr/>
        </p:nvGrpSpPr>
        <p:grpSpPr>
          <a:xfrm rot="16200000">
            <a:off x="5559216" y="2190501"/>
            <a:ext cx="2726066" cy="3973787"/>
            <a:chOff x="8530681" y="355599"/>
            <a:chExt cx="3200398" cy="5662160"/>
          </a:xfrm>
        </p:grpSpPr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CF5AEB1D-63EB-453E-97FC-1E156B0CF61E}"/>
                </a:ext>
              </a:extLst>
            </p:cNvPr>
            <p:cNvSpPr/>
            <p:nvPr/>
          </p:nvSpPr>
          <p:spPr>
            <a:xfrm>
              <a:off x="8530681" y="1340802"/>
              <a:ext cx="3200398" cy="520429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solidFill>
                    <a:schemeClr val="tx1"/>
                  </a:solidFill>
                </a:rPr>
                <a:t>Pre-processing</a:t>
              </a:r>
            </a:p>
          </p:txBody>
        </p: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95D5C19A-8E70-4874-9A58-1BBD41378C74}"/>
                </a:ext>
              </a:extLst>
            </p:cNvPr>
            <p:cNvSpPr/>
            <p:nvPr/>
          </p:nvSpPr>
          <p:spPr>
            <a:xfrm>
              <a:off x="8530681" y="2134490"/>
              <a:ext cx="3200398" cy="520429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solidFill>
                    <a:schemeClr val="tx1"/>
                  </a:solidFill>
                </a:rPr>
                <a:t>Initialization</a:t>
              </a:r>
            </a:p>
          </p:txBody>
        </p: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0A846285-EE9C-4065-A2FD-91E9D341E3F7}"/>
                </a:ext>
              </a:extLst>
            </p:cNvPr>
            <p:cNvSpPr/>
            <p:nvPr/>
          </p:nvSpPr>
          <p:spPr>
            <a:xfrm>
              <a:off x="8530681" y="3720382"/>
              <a:ext cx="3200398" cy="520429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err="1">
                  <a:solidFill>
                    <a:schemeClr val="bg1"/>
                  </a:solidFill>
                </a:rPr>
                <a:t>Vins</a:t>
              </a:r>
              <a:r>
                <a:rPr lang="en-US" sz="1600" b="1">
                  <a:solidFill>
                    <a:schemeClr val="bg1"/>
                  </a:solidFill>
                </a:rPr>
                <a:t> Estimator</a:t>
              </a:r>
            </a:p>
          </p:txBody>
        </p: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774C9559-900D-4DE7-9969-0C8EB414FCD9}"/>
                </a:ext>
              </a:extLst>
            </p:cNvPr>
            <p:cNvSpPr/>
            <p:nvPr/>
          </p:nvSpPr>
          <p:spPr>
            <a:xfrm>
              <a:off x="8530681" y="4514069"/>
              <a:ext cx="3200398" cy="520429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Pose Graph</a:t>
              </a:r>
            </a:p>
          </p:txBody>
        </p: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B7FDA179-7AE7-43C8-85EC-7C56AEBB3AB4}"/>
                </a:ext>
              </a:extLst>
            </p:cNvPr>
            <p:cNvSpPr/>
            <p:nvPr/>
          </p:nvSpPr>
          <p:spPr>
            <a:xfrm>
              <a:off x="8530681" y="5307756"/>
              <a:ext cx="3200398" cy="71000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err="1">
                  <a:solidFill>
                    <a:schemeClr val="tx1"/>
                  </a:solidFill>
                </a:rPr>
                <a:t>Relocalization</a:t>
              </a:r>
              <a:r>
                <a:rPr lang="en-US" sz="1600">
                  <a:solidFill>
                    <a:schemeClr val="tx1"/>
                  </a:solidFill>
                </a:rPr>
                <a:t> and </a:t>
              </a:r>
            </a:p>
            <a:p>
              <a:pPr algn="ctr"/>
              <a:r>
                <a:rPr lang="en-US" sz="1600">
                  <a:solidFill>
                    <a:schemeClr val="tx1"/>
                  </a:solidFill>
                </a:rPr>
                <a:t>Pose-graph optimization</a:t>
              </a:r>
            </a:p>
          </p:txBody>
        </p:sp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DACCB9F4-A99F-4809-860B-F80820FDF111}"/>
                </a:ext>
              </a:extLst>
            </p:cNvPr>
            <p:cNvSpPr/>
            <p:nvPr/>
          </p:nvSpPr>
          <p:spPr>
            <a:xfrm>
              <a:off x="8530681" y="2926695"/>
              <a:ext cx="3200398" cy="520429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solidFill>
                    <a:schemeClr val="tx1"/>
                  </a:solidFill>
                </a:rPr>
                <a:t>Temporal calibration</a:t>
              </a:r>
            </a:p>
          </p:txBody>
        </p:sp>
        <p:cxnSp>
          <p:nvCxnSpPr>
            <p:cNvPr id="72" name="Straight Arrow Connector 71">
              <a:extLst>
                <a:ext uri="{FF2B5EF4-FFF2-40B4-BE49-F238E27FC236}">
                  <a16:creationId xmlns:a16="http://schemas.microsoft.com/office/drawing/2014/main" id="{95A65C41-61BD-4CD6-9FAF-EE50F3FE59BA}"/>
                </a:ext>
              </a:extLst>
            </p:cNvPr>
            <p:cNvCxnSpPr>
              <a:stCxn id="66" idx="2"/>
              <a:endCxn id="67" idx="0"/>
            </p:cNvCxnSpPr>
            <p:nvPr/>
          </p:nvCxnSpPr>
          <p:spPr>
            <a:xfrm>
              <a:off x="10130880" y="1861232"/>
              <a:ext cx="0" cy="27325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8CFB9BC7-B4CD-431E-9B63-A2A76A3A4CA6}"/>
                </a:ext>
              </a:extLst>
            </p:cNvPr>
            <p:cNvCxnSpPr>
              <a:cxnSpLocks/>
              <a:stCxn id="67" idx="2"/>
              <a:endCxn id="71" idx="0"/>
            </p:cNvCxnSpPr>
            <p:nvPr/>
          </p:nvCxnSpPr>
          <p:spPr>
            <a:xfrm>
              <a:off x="10130880" y="2654919"/>
              <a:ext cx="0" cy="271776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Arrow Connector 73">
              <a:extLst>
                <a:ext uri="{FF2B5EF4-FFF2-40B4-BE49-F238E27FC236}">
                  <a16:creationId xmlns:a16="http://schemas.microsoft.com/office/drawing/2014/main" id="{5ACDA127-43D3-4EF3-8CA1-FBFCF4F3F39A}"/>
                </a:ext>
              </a:extLst>
            </p:cNvPr>
            <p:cNvCxnSpPr>
              <a:cxnSpLocks/>
              <a:stCxn id="71" idx="2"/>
              <a:endCxn id="68" idx="0"/>
            </p:cNvCxnSpPr>
            <p:nvPr/>
          </p:nvCxnSpPr>
          <p:spPr>
            <a:xfrm>
              <a:off x="10130880" y="3447124"/>
              <a:ext cx="0" cy="27325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4B0CF717-8820-44DA-BB4A-9A9BACA85396}"/>
                </a:ext>
              </a:extLst>
            </p:cNvPr>
            <p:cNvCxnSpPr>
              <a:cxnSpLocks/>
              <a:stCxn id="68" idx="2"/>
              <a:endCxn id="69" idx="0"/>
            </p:cNvCxnSpPr>
            <p:nvPr/>
          </p:nvCxnSpPr>
          <p:spPr>
            <a:xfrm>
              <a:off x="10130880" y="4240811"/>
              <a:ext cx="0" cy="27325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C2226AE4-D9CF-4C9E-9363-47DFE50561ED}"/>
                </a:ext>
              </a:extLst>
            </p:cNvPr>
            <p:cNvCxnSpPr>
              <a:cxnSpLocks/>
              <a:stCxn id="69" idx="2"/>
              <a:endCxn id="70" idx="0"/>
            </p:cNvCxnSpPr>
            <p:nvPr/>
          </p:nvCxnSpPr>
          <p:spPr>
            <a:xfrm>
              <a:off x="10130880" y="5034498"/>
              <a:ext cx="0" cy="27325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5ADBFE4E-11CA-4AA4-8B6E-8C3D14B0AA0B}"/>
                </a:ext>
              </a:extLst>
            </p:cNvPr>
            <p:cNvSpPr/>
            <p:nvPr/>
          </p:nvSpPr>
          <p:spPr>
            <a:xfrm>
              <a:off x="10284640" y="355599"/>
              <a:ext cx="1446439" cy="484641"/>
            </a:xfrm>
            <a:prstGeom prst="rect">
              <a:avLst/>
            </a:prstGeom>
            <a:noFill/>
            <a:ln w="28575">
              <a:solidFill>
                <a:srgbClr val="26889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tx1"/>
                  </a:solidFill>
                </a:rPr>
                <a:t>IMU</a:t>
              </a:r>
            </a:p>
          </p:txBody>
        </p:sp>
        <p:cxnSp>
          <p:nvCxnSpPr>
            <p:cNvPr id="78" name="Straight Arrow Connector 77">
              <a:extLst>
                <a:ext uri="{FF2B5EF4-FFF2-40B4-BE49-F238E27FC236}">
                  <a16:creationId xmlns:a16="http://schemas.microsoft.com/office/drawing/2014/main" id="{C104DB23-4D9C-49B0-A460-D24590171BC7}"/>
                </a:ext>
              </a:extLst>
            </p:cNvPr>
            <p:cNvCxnSpPr>
              <a:cxnSpLocks/>
              <a:endCxn id="66" idx="0"/>
            </p:cNvCxnSpPr>
            <p:nvPr/>
          </p:nvCxnSpPr>
          <p:spPr>
            <a:xfrm>
              <a:off x="9253901" y="840240"/>
              <a:ext cx="876979" cy="500562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12193FC0-F364-4AB4-B0E6-47A9EE41FA19}"/>
                </a:ext>
              </a:extLst>
            </p:cNvPr>
            <p:cNvCxnSpPr>
              <a:stCxn id="77" idx="2"/>
              <a:endCxn id="66" idx="0"/>
            </p:cNvCxnSpPr>
            <p:nvPr/>
          </p:nvCxnSpPr>
          <p:spPr>
            <a:xfrm flipH="1">
              <a:off x="10130880" y="840240"/>
              <a:ext cx="876980" cy="500563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B7E22E32-77AC-4546-86FA-B9220F9D8618}"/>
                </a:ext>
              </a:extLst>
            </p:cNvPr>
            <p:cNvSpPr/>
            <p:nvPr/>
          </p:nvSpPr>
          <p:spPr>
            <a:xfrm>
              <a:off x="8530681" y="355599"/>
              <a:ext cx="1446439" cy="484641"/>
            </a:xfrm>
            <a:prstGeom prst="rect">
              <a:avLst/>
            </a:prstGeom>
            <a:noFill/>
            <a:ln w="28575">
              <a:solidFill>
                <a:srgbClr val="26889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tx1"/>
                  </a:solidFill>
                </a:rPr>
                <a:t>Images</a:t>
              </a:r>
            </a:p>
          </p:txBody>
        </p:sp>
      </p:grpSp>
      <p:cxnSp>
        <p:nvCxnSpPr>
          <p:cNvPr id="103" name="Connector: Elbow 102">
            <a:extLst>
              <a:ext uri="{FF2B5EF4-FFF2-40B4-BE49-F238E27FC236}">
                <a16:creationId xmlns:a16="http://schemas.microsoft.com/office/drawing/2014/main" id="{4A905337-C923-4456-B8C8-ED9C703DD32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776020" y="2826734"/>
            <a:ext cx="2417106" cy="3010281"/>
          </a:xfrm>
          <a:prstGeom prst="bentConnector3">
            <a:avLst>
              <a:gd name="adj1" fmla="val -4758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E4BA05A6-EC13-43BB-8573-B2D7AD5CB584}"/>
              </a:ext>
            </a:extLst>
          </p:cNvPr>
          <p:cNvSpPr txBox="1"/>
          <p:nvPr/>
        </p:nvSpPr>
        <p:spPr>
          <a:xfrm>
            <a:off x="8091055" y="5707483"/>
            <a:ext cx="2312785" cy="246221"/>
          </a:xfrm>
          <a:prstGeom prst="rect">
            <a:avLst/>
          </a:prstGeom>
          <a:solidFill>
            <a:srgbClr val="FFC000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/>
              <a:t>Local Position Estimate</a:t>
            </a:r>
          </a:p>
        </p:txBody>
      </p:sp>
      <p:pic>
        <p:nvPicPr>
          <p:cNvPr id="2" name="Picture 5" descr="A picture containing light&#10;&#10;Description automatically generated">
            <a:extLst>
              <a:ext uri="{FF2B5EF4-FFF2-40B4-BE49-F238E27FC236}">
                <a16:creationId xmlns:a16="http://schemas.microsoft.com/office/drawing/2014/main" id="{46261FB8-AF41-4E43-91EA-34B50E821DC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26109" y="1574347"/>
            <a:ext cx="2175783" cy="1514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4758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wh5GR7t0As0BK5wnUp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GiVCaGdWRYiwt64ITn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832.7sVBqrOvBw8MZc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VP6HIlebQKflHTUwW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DV2vVzrd9PufyH6m0z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6XC.KCKKsLZGe8u_j0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b4d7jw8zw_6RnZdLmU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w1caxfVKck.7maQUYT_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NAIZ6DHdtWgBmfQTwZ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O97oFlLWYvyu8vMIPn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heme/theme1.xml><?xml version="1.0" encoding="utf-8"?>
<a:theme xmlns:a="http://schemas.openxmlformats.org/drawingml/2006/main" name="Honeywell 2019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PT Template 16x9_2019 pptx (1)" id="{C13D7188-A151-414D-8989-4BEEEFF1DC5C}" vid="{71BD2F07-B865-488E-B5DA-A4FB8B5D2041}"/>
    </a:ext>
  </a:extLst>
</a:theme>
</file>

<file path=ppt/theme/theme2.xml><?xml version="1.0" encoding="utf-8"?>
<a:theme xmlns:a="http://schemas.openxmlformats.org/drawingml/2006/main" name="Honeywell 2019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PT Template 16x9_2019 pptx (1)" id="{C13D7188-A151-414D-8989-4BEEEFF1DC5C}" vid="{71BD2F07-B865-488E-B5DA-A4FB8B5D2041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C724F5D56F644698BBA8E54DF83466" ma:contentTypeVersion="7" ma:contentTypeDescription="Create a new document." ma:contentTypeScope="" ma:versionID="5b1aa496786c737a1daea5934c770db4">
  <xsd:schema xmlns:xsd="http://www.w3.org/2001/XMLSchema" xmlns:xs="http://www.w3.org/2001/XMLSchema" xmlns:p="http://schemas.microsoft.com/office/2006/metadata/properties" xmlns:ns2="ddc118d3-6c19-471f-98f1-803e0b2bb584" targetNamespace="http://schemas.microsoft.com/office/2006/metadata/properties" ma:root="true" ma:fieldsID="6c7c0ac4a120e249fbfb36e73bb95717" ns2:_="">
    <xsd:import namespace="ddc118d3-6c19-471f-98f1-803e0b2bb58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c118d3-6c19-471f-98f1-803e0b2bb58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D8308AD-929C-4AF1-934C-AD13F105D72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5143AEB-FF8D-4B83-9D9F-E28F4570DE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dc118d3-6c19-471f-98f1-803e0b2bb58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3A96D48-C214-4F88-BF4C-52E319A5EF2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69</Words>
  <Application>Microsoft Office PowerPoint</Application>
  <PresentationFormat>Widescreen</PresentationFormat>
  <Paragraphs>445</Paragraphs>
  <Slides>4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1" baseType="lpstr">
      <vt:lpstr>Arial</vt:lpstr>
      <vt:lpstr>Arial Black</vt:lpstr>
      <vt:lpstr>Arial,Sans-Serif</vt:lpstr>
      <vt:lpstr>Cambria Math</vt:lpstr>
      <vt:lpstr>Wingdings</vt:lpstr>
      <vt:lpstr>Honeywell 2019</vt:lpstr>
      <vt:lpstr>Honeywell 2019</vt:lpstr>
      <vt:lpstr>think-cell Slide</vt:lpstr>
      <vt:lpstr>Final Presentation SLAM implementation on AIRSIM SImulation</vt:lpstr>
      <vt:lpstr>This presentation will cover</vt:lpstr>
      <vt:lpstr>Overview of slam and vi-slam</vt:lpstr>
      <vt:lpstr>VIO TECHNIQUES </vt:lpstr>
      <vt:lpstr>Graph based slam                      </vt:lpstr>
      <vt:lpstr>PowerPoint Presentation</vt:lpstr>
      <vt:lpstr>VINS-Mono: Introduction</vt:lpstr>
      <vt:lpstr>Key modules and PIpeline</vt:lpstr>
      <vt:lpstr>Integration with airsim simulation</vt:lpstr>
      <vt:lpstr>Demonstration video</vt:lpstr>
      <vt:lpstr>Motion and translation error plots</vt:lpstr>
      <vt:lpstr>Motion and rotational error plots</vt:lpstr>
      <vt:lpstr>NEXT STEPS</vt:lpstr>
      <vt:lpstr>Thankyou</vt:lpstr>
      <vt:lpstr>Filtering Based techniques: Overview</vt:lpstr>
      <vt:lpstr>Feature Extraction and Tracking</vt:lpstr>
      <vt:lpstr>Filtering: Dynamic observational model</vt:lpstr>
      <vt:lpstr>Filtering: Dynamic observational model</vt:lpstr>
      <vt:lpstr>Filtering: Dynamic observational model</vt:lpstr>
      <vt:lpstr>VINS-Mono: Pre-Processing</vt:lpstr>
      <vt:lpstr>VINS-Mono: Pre-Processing</vt:lpstr>
      <vt:lpstr>VINS-Mono: Pre-Processing</vt:lpstr>
      <vt:lpstr>VINS-Mono: Pre-Processing</vt:lpstr>
      <vt:lpstr>VINS-Mono: INITIALIZATION initial estimate of position, orientation, velocity, scale, bias</vt:lpstr>
      <vt:lpstr>VINS-Mono: INITIALIZATION initial estimate of position, orientation, velocity, scale, bias</vt:lpstr>
      <vt:lpstr>VINS-Mono: Core VIO Algorithm</vt:lpstr>
      <vt:lpstr>VINS-Mono: Core VIO Algorithm</vt:lpstr>
      <vt:lpstr>VINS-Mono: Core VIO Algorithm</vt:lpstr>
      <vt:lpstr>VINS-Mono: Core VIO Algorithm</vt:lpstr>
      <vt:lpstr>VINS-Mono: Relocalization v/s Pose Graph</vt:lpstr>
      <vt:lpstr>VINS-Mono: Relocalization</vt:lpstr>
      <vt:lpstr>VINS-Mono: Global Pose Graph Optimizatio</vt:lpstr>
      <vt:lpstr>VINS-Mono: Working</vt:lpstr>
      <vt:lpstr>VINS-Mono: Temporal Caliberation</vt:lpstr>
      <vt:lpstr>Frequency TEST</vt:lpstr>
      <vt:lpstr>Code Architecture (VINS)</vt:lpstr>
      <vt:lpstr>Code Architecture (VINS)</vt:lpstr>
      <vt:lpstr>Code Architecture (VINS)</vt:lpstr>
      <vt:lpstr>Code Architecture (VINS)</vt:lpstr>
      <vt:lpstr>Working Pipeline</vt:lpstr>
      <vt:lpstr>LAST week RESULTS</vt:lpstr>
      <vt:lpstr>Calibration Matrix</vt:lpstr>
      <vt:lpstr>Calibration Matrix</vt:lpstr>
    </vt:vector>
  </TitlesOfParts>
  <Company>Interpubl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neywell  PowerPoint template 2019</dc:title>
  <dc:creator>Akif.Ahmad@Honeywell.com</dc:creator>
  <cp:lastModifiedBy>Rawal, Naman (Flight Systems)</cp:lastModifiedBy>
  <cp:revision>4</cp:revision>
  <dcterms:created xsi:type="dcterms:W3CDTF">2019-07-18T16:20:17Z</dcterms:created>
  <dcterms:modified xsi:type="dcterms:W3CDTF">2020-07-30T05:1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C724F5D56F644698BBA8E54DF83466</vt:lpwstr>
  </property>
</Properties>
</file>